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4"/>
    <p:sldMasterId id="2147483798" r:id="rId5"/>
    <p:sldMasterId id="2147483813" r:id="rId6"/>
    <p:sldMasterId id="2147483825" r:id="rId7"/>
    <p:sldMasterId id="2147483833" r:id="rId8"/>
    <p:sldMasterId id="2147483842" r:id="rId9"/>
    <p:sldMasterId id="2147483862" r:id="rId10"/>
  </p:sldMasterIdLst>
  <p:notesMasterIdLst>
    <p:notesMasterId r:id="rId17"/>
  </p:notesMasterIdLst>
  <p:handoutMasterIdLst>
    <p:handoutMasterId r:id="rId18"/>
  </p:handoutMasterIdLst>
  <p:sldIdLst>
    <p:sldId id="311" r:id="rId11"/>
    <p:sldId id="503" r:id="rId12"/>
    <p:sldId id="522" r:id="rId13"/>
    <p:sldId id="524" r:id="rId14"/>
    <p:sldId id="523" r:id="rId15"/>
    <p:sldId id="454" r:id="rId16"/>
  </p:sldIdLst>
  <p:sldSz cx="9144000" cy="5143500" type="screen16x9"/>
  <p:notesSz cx="7023100" cy="9309100"/>
  <p:custDataLst>
    <p:tags r:id="rId19"/>
  </p:custDataLst>
  <p:defaultTextStyle>
    <a:defPPr>
      <a:defRPr lang="en-GB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4192"/>
    <a:srgbClr val="000000"/>
    <a:srgbClr val="68717A"/>
    <a:srgbClr val="A8BB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87" autoAdjust="0"/>
    <p:restoredTop sz="86408" autoAdjust="0"/>
  </p:normalViewPr>
  <p:slideViewPr>
    <p:cSldViewPr snapToGrid="0">
      <p:cViewPr varScale="1">
        <p:scale>
          <a:sx n="144" d="100"/>
          <a:sy n="144" d="100"/>
        </p:scale>
        <p:origin x="276" y="12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3570" y="96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3A1A956-FBA6-4D44-9717-88B588F88EA2}" type="datetimeFigureOut">
              <a:rPr lang="en-US"/>
              <a:pPr>
                <a:defRPr/>
              </a:pPr>
              <a:t>4/1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EB7DA75-3119-461F-BBD9-15CADFA283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5986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2CF6B7E-5EE0-4686-A335-20EF82FA6D28}" type="datetimeFigureOut">
              <a:rPr lang="en-US"/>
              <a:pPr>
                <a:defRPr/>
              </a:pPr>
              <a:t>4/1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wrap="square" lIns="93324" tIns="46662" rIns="93324" bIns="466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6C2616F-011D-47B3-A2C1-4E16F11993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9924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>
              <a:ea typeface="ヒラギノ角ゴ Pro W3"/>
              <a:cs typeface="ヒラギノ角ゴ Pro W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F1E334-DD0D-44F1-B379-F6C65B92AF59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054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0673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/>
              <a:t>Realizati</a:t>
            </a:r>
            <a:r>
              <a:rPr lang="en-US" sz="1200" dirty="0"/>
              <a:t> o </a:t>
            </a:r>
            <a:r>
              <a:rPr lang="en-US" sz="1200" dirty="0" err="1"/>
              <a:t>aplicatie</a:t>
            </a:r>
            <a:r>
              <a:rPr lang="en-US" sz="1200" dirty="0"/>
              <a:t> care </a:t>
            </a:r>
            <a:r>
              <a:rPr lang="en-US" sz="1200" dirty="0" err="1"/>
              <a:t>sa</a:t>
            </a:r>
            <a:r>
              <a:rPr lang="en-US" sz="1200" dirty="0"/>
              <a:t> </a:t>
            </a:r>
            <a:r>
              <a:rPr lang="en-US" sz="1200" dirty="0" err="1"/>
              <a:t>implementeze</a:t>
            </a:r>
            <a:r>
              <a:rPr lang="en-US" sz="1200" dirty="0"/>
              <a:t> o </a:t>
            </a:r>
            <a:r>
              <a:rPr lang="en-US" sz="1200" dirty="0" err="1"/>
              <a:t>ierarhie</a:t>
            </a:r>
            <a:r>
              <a:rPr lang="en-US" sz="1200" dirty="0"/>
              <a:t> de </a:t>
            </a:r>
            <a:r>
              <a:rPr lang="en-US" sz="1200" dirty="0" err="1"/>
              <a:t>clase</a:t>
            </a:r>
            <a:r>
              <a:rPr lang="en-US" sz="1200" dirty="0"/>
              <a:t> cu </a:t>
            </a:r>
            <a:r>
              <a:rPr lang="en-US" sz="1200" dirty="0" err="1"/>
              <a:t>ajutorul</a:t>
            </a:r>
            <a:r>
              <a:rPr lang="en-US" sz="1200" dirty="0"/>
              <a:t> </a:t>
            </a:r>
            <a:r>
              <a:rPr lang="en-US" sz="1200" dirty="0" err="1"/>
              <a:t>careia</a:t>
            </a:r>
            <a:r>
              <a:rPr lang="en-US" sz="1200" dirty="0"/>
              <a:t> </a:t>
            </a:r>
            <a:r>
              <a:rPr lang="en-US" sz="1200" dirty="0" err="1"/>
              <a:t>sa</a:t>
            </a:r>
            <a:r>
              <a:rPr lang="en-US" sz="1200" dirty="0"/>
              <a:t> </a:t>
            </a:r>
            <a:r>
              <a:rPr lang="en-US" sz="1200" dirty="0" err="1"/>
              <a:t>puteti</a:t>
            </a:r>
            <a:r>
              <a:rPr lang="en-US" sz="1200" dirty="0"/>
              <a:t> </a:t>
            </a:r>
            <a:r>
              <a:rPr lang="en-US" sz="1200" dirty="0" err="1"/>
              <a:t>modela</a:t>
            </a:r>
            <a:r>
              <a:rPr lang="en-US" sz="1200" dirty="0"/>
              <a:t> </a:t>
            </a:r>
            <a:r>
              <a:rPr lang="en-US" sz="1200" dirty="0" err="1"/>
              <a:t>figuri</a:t>
            </a:r>
            <a:r>
              <a:rPr lang="en-US" sz="1200" dirty="0"/>
              <a:t> </a:t>
            </a:r>
            <a:r>
              <a:rPr lang="en-US" sz="1200" dirty="0" err="1"/>
              <a:t>geometrice</a:t>
            </a:r>
            <a:r>
              <a:rPr lang="en-US" sz="1200" dirty="0"/>
              <a:t> </a:t>
            </a:r>
            <a:r>
              <a:rPr lang="en-US" sz="1200" dirty="0" err="1"/>
              <a:t>folosind</a:t>
            </a:r>
            <a:r>
              <a:rPr lang="en-US" sz="1200" dirty="0"/>
              <a:t> feature-</a:t>
            </a:r>
            <a:r>
              <a:rPr lang="en-US" sz="1200" dirty="0" err="1"/>
              <a:t>uri</a:t>
            </a:r>
            <a:r>
              <a:rPr lang="en-US" sz="1200" dirty="0"/>
              <a:t> </a:t>
            </a:r>
            <a:r>
              <a:rPr lang="en-US" sz="1200" dirty="0" err="1"/>
              <a:t>specifice</a:t>
            </a:r>
            <a:r>
              <a:rPr lang="en-US" sz="1200" dirty="0"/>
              <a:t> C++11, </a:t>
            </a:r>
            <a:r>
              <a:rPr lang="en-US" sz="1200" dirty="0" err="1"/>
              <a:t>pornind</a:t>
            </a:r>
            <a:r>
              <a:rPr lang="en-US" sz="1200" dirty="0"/>
              <a:t> de la </a:t>
            </a:r>
            <a:r>
              <a:rPr lang="en-US" sz="1200" dirty="0" err="1"/>
              <a:t>urmatorul</a:t>
            </a:r>
            <a:r>
              <a:rPr lang="en-US" sz="1200" dirty="0"/>
              <a:t> </a:t>
            </a:r>
            <a:r>
              <a:rPr lang="en-US" sz="1200" dirty="0" err="1"/>
              <a:t>schelet</a:t>
            </a:r>
            <a:r>
              <a:rPr lang="en-US" sz="1200" dirty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17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slideMaster" Target="../slideMasters/slideMaster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8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7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17513" y="536399"/>
            <a:ext cx="8229600" cy="302400"/>
          </a:xfrm>
        </p:spPr>
        <p:txBody>
          <a:bodyPr/>
          <a:lstStyle>
            <a:lvl1pPr>
              <a:buNone/>
              <a:defRPr sz="1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316987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95952636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9458060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8497819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59750275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12015872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537792"/>
            <a:ext cx="8227649" cy="301625"/>
          </a:xfrm>
          <a:prstGeom prst="rect">
            <a:avLst/>
          </a:prstGeo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 bwMode="auto">
          <a:xfrm>
            <a:off x="1611313" y="4795567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86591989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2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2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417513" y="63500"/>
            <a:ext cx="71596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1400">
                <a:solidFill>
                  <a:srgbClr val="808080"/>
                </a:solidFill>
                <a:latin typeface="Nokia Pure Text Light" panose="020B0304040602060303" pitchFamily="34" charset="0"/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417513" y="555625"/>
            <a:ext cx="8229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Nokia Pure Text Light"/>
                <a:ea typeface="ＭＳ Ｐゴシック"/>
              </a:rPr>
              <a:t>Unit of measure</a:t>
            </a:r>
          </a:p>
        </p:txBody>
      </p:sp>
      <p:grpSp>
        <p:nvGrpSpPr>
          <p:cNvPr id="6" name="McK Slide Elements" hidden="1"/>
          <p:cNvGrpSpPr>
            <a:grpSpLocks/>
          </p:cNvGrpSpPr>
          <p:nvPr/>
        </p:nvGrpSpPr>
        <p:grpSpPr bwMode="auto">
          <a:xfrm>
            <a:off x="417513" y="4270375"/>
            <a:ext cx="8229600" cy="334963"/>
            <a:chOff x="417513" y="4270533"/>
            <a:chExt cx="8229600" cy="334937"/>
          </a:xfrm>
        </p:grpSpPr>
        <p:sp>
          <p:nvSpPr>
            <p:cNvPr id="7" name="McK 4. Footnote"/>
            <p:cNvSpPr txBox="1">
              <a:spLocks noChangeArrowheads="1"/>
            </p:cNvSpPr>
            <p:nvPr/>
          </p:nvSpPr>
          <p:spPr bwMode="auto">
            <a:xfrm>
              <a:off x="417513" y="4270533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7950" indent="-107950">
                <a:defRPr/>
              </a:pPr>
              <a:r>
                <a:rPr lang="en-US" sz="1000" dirty="0">
                  <a:solidFill>
                    <a:srgbClr val="124191"/>
                  </a:solidFill>
                  <a:latin typeface="Nokia Pure Text Light"/>
                  <a:ea typeface="ＭＳ Ｐゴシック"/>
                </a:rPr>
                <a:t>1 Footnote</a:t>
              </a:r>
            </a:p>
          </p:txBody>
        </p:sp>
        <p:sp>
          <p:nvSpPr>
            <p:cNvPr id="8" name="McK 5. Source"/>
            <p:cNvSpPr>
              <a:spLocks noChangeArrowheads="1"/>
            </p:cNvSpPr>
            <p:nvPr/>
          </p:nvSpPr>
          <p:spPr bwMode="auto">
            <a:xfrm>
              <a:off x="417513" y="4451494"/>
              <a:ext cx="8229600" cy="1539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57200" indent="-4572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03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sz="10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Source: Source</a:t>
              </a: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2376488" y="1398588"/>
            <a:ext cx="4391025" cy="512762"/>
            <a:chOff x="915" y="609"/>
            <a:chExt cx="2686" cy="421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r>
                <a:rPr lang="en-US" altLang="en-US" b="1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Title</a:t>
              </a:r>
            </a:p>
            <a:p>
              <a:pPr>
                <a:defRPr/>
              </a:pPr>
              <a:r>
                <a:rPr lang="en-US" altLang="en-US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Unit of measure</a:t>
              </a:r>
            </a:p>
          </p:txBody>
        </p:sp>
      </p:grpSp>
      <p:pic>
        <p:nvPicPr>
          <p:cNvPr id="12" name="Picture 1"/>
          <p:cNvPicPr>
            <a:picLocks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438" y="4672013"/>
            <a:ext cx="701675" cy="1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23"/>
          <p:cNvSpPr txBox="1">
            <a:spLocks noChangeArrowheads="1"/>
          </p:cNvSpPr>
          <p:nvPr/>
        </p:nvSpPr>
        <p:spPr bwMode="auto">
          <a:xfrm>
            <a:off x="1439863" y="4692650"/>
            <a:ext cx="6078537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pt-BR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© Nokia 2017            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24"/>
          <p:cNvSpPr txBox="1">
            <a:spLocks noChangeArrowheads="1"/>
          </p:cNvSpPr>
          <p:nvPr/>
        </p:nvSpPr>
        <p:spPr bwMode="auto">
          <a:xfrm>
            <a:off x="417513" y="4837113"/>
            <a:ext cx="60785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en-US" sz="80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Nokia</a:t>
            </a:r>
            <a:r>
              <a:rPr lang="en-GB" altLang="en-US" sz="800" baseline="0" dirty="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 internal use</a:t>
            </a:r>
            <a:endParaRPr lang="en-GB" altLang="en-US" sz="800" dirty="0">
              <a:solidFill>
                <a:srgbClr val="124191"/>
              </a:solidFill>
              <a:latin typeface="Nokia Pure Text Light" panose="020B0304040602060303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7883525" y="322263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US" altLang="en-US" sz="120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575550" y="322263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124191"/>
                </a:solidFill>
                <a:latin typeface="Nokia Pure Text Light"/>
                <a:ea typeface="ＭＳ Ｐゴシック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732713" y="322263"/>
            <a:ext cx="914400" cy="212725"/>
            <a:chOff x="7826359" y="285750"/>
            <a:chExt cx="914416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826359" y="285750"/>
              <a:ext cx="914416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808080"/>
                  </a:solidFill>
                  <a:latin typeface="Nokia Pure Text Light" panose="020B0304040602060303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826359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826359" y="498116"/>
              <a:ext cx="9144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7816850" y="322263"/>
            <a:ext cx="830263" cy="1308100"/>
            <a:chOff x="6655594" y="273840"/>
            <a:chExt cx="830430" cy="1306516"/>
          </a:xfrm>
        </p:grpSpPr>
        <p:grpSp>
          <p:nvGrpSpPr>
            <p:cNvPr id="36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4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5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7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8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grpSp>
          <p:nvGrpSpPr>
            <p:cNvPr id="39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6976334" y="286525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6976334" y="560829"/>
              <a:ext cx="509690" cy="185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6976334" y="835134"/>
              <a:ext cx="509690" cy="1855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auto">
            <a:xfrm>
              <a:off x="6976334" y="110785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auto">
            <a:xfrm>
              <a:off x="6976334" y="1383744"/>
              <a:ext cx="509690" cy="183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124191"/>
                </a:buClr>
                <a:defRPr/>
              </a:pPr>
              <a:r>
                <a:rPr lang="en-US" altLang="en-US" sz="1200">
                  <a:solidFill>
                    <a:srgbClr val="124191"/>
                  </a:solidFill>
                  <a:latin typeface="Nokia Pure Text Light" panose="020B0304040602060303" pitchFamily="34" charset="0"/>
                </a:rPr>
                <a:t>Legend</a:t>
              </a:r>
            </a:p>
          </p:txBody>
        </p:sp>
        <p:grpSp>
          <p:nvGrpSpPr>
            <p:cNvPr id="45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124191"/>
                  </a:solidFill>
                  <a:latin typeface="Nokia Pure Text Light"/>
                  <a:ea typeface="ＭＳ Ｐゴシック"/>
                </a:endParaRPr>
              </a:p>
            </p:txBody>
          </p:sp>
        </p:grpSp>
      </p:grpSp>
      <p:grpSp>
        <p:nvGrpSpPr>
          <p:cNvPr id="56" name="McK Moon" hidden="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7872413" y="360363"/>
            <a:ext cx="209550" cy="209550"/>
            <a:chOff x="1600" y="1600"/>
            <a:chExt cx="160" cy="160"/>
          </a:xfrm>
        </p:grpSpPr>
        <p:sp>
          <p:nvSpPr>
            <p:cNvPr id="57" name="Oval 90"/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  <p:sp>
          <p:nvSpPr>
            <p:cNvPr id="58" name="Arc 9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srgbClr val="124191"/>
                </a:solidFill>
                <a:ea typeface="ＭＳ Ｐゴシック"/>
              </a:endParaRPr>
            </a:p>
          </p:txBody>
        </p:sp>
      </p:grpSp>
      <p:sp>
        <p:nvSpPr>
          <p:cNvPr id="59" name="TextBox 77"/>
          <p:cNvSpPr txBox="1">
            <a:spLocks noChangeArrowheads="1"/>
          </p:cNvSpPr>
          <p:nvPr userDrawn="1"/>
        </p:nvSpPr>
        <p:spPr bwMode="auto">
          <a:xfrm>
            <a:off x="417513" y="4976813"/>
            <a:ext cx="856773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800">
                <a:solidFill>
                  <a:srgbClr val="124191"/>
                </a:solidFill>
                <a:latin typeface="Nokia Pure Text Light" panose="020B0304040602060303" pitchFamily="34" charset="0"/>
                <a:cs typeface="Arial" panose="020B0604020202020204" pitchFamily="34" charset="0"/>
              </a:rPr>
              <a:t>The proposed transaction is subject to approval by Nokia’s shareholders, completion of relevant works council consultations, receipt of regulatory approvals and other customary conditions.</a:t>
            </a:r>
          </a:p>
        </p:txBody>
      </p:sp>
      <p:sp>
        <p:nvSpPr>
          <p:cNvPr id="60" name="Slide Number"/>
          <p:cNvSpPr txBox="1">
            <a:spLocks/>
          </p:cNvSpPr>
          <p:nvPr userDrawn="1"/>
        </p:nvSpPr>
        <p:spPr bwMode="auto">
          <a:xfrm>
            <a:off x="417513" y="4692650"/>
            <a:ext cx="117475" cy="12382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A0FF432-A781-4EE0-9364-1D65851F86D1}" type="slidenum">
              <a:rPr lang="en-US" sz="800" smtClean="0">
                <a:solidFill>
                  <a:srgbClr val="124191"/>
                </a:solidFill>
                <a:ea typeface="ＭＳ Ｐゴシック"/>
              </a:rPr>
              <a:pPr>
                <a:defRPr/>
              </a:pPr>
              <a:t>‹#›</a:t>
            </a:fld>
            <a:endParaRPr lang="en-US" sz="800" dirty="0">
              <a:solidFill>
                <a:srgbClr val="124191"/>
              </a:solidFill>
              <a:ea typeface="ＭＳ Ｐゴシック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1" name="Date Placeholder 3"/>
          <p:cNvSpPr>
            <a:spLocks noGrp="1"/>
          </p:cNvSpPr>
          <p:nvPr>
            <p:ph type="dt" sz="half" idx="10"/>
          </p:nvPr>
        </p:nvSpPr>
        <p:spPr>
          <a:xfrm>
            <a:off x="722313" y="4692650"/>
            <a:ext cx="512762" cy="123825"/>
          </a:xfrm>
          <a:prstGeom prst="rect">
            <a:avLst/>
          </a:prstGeom>
        </p:spPr>
        <p:txBody>
          <a:bodyPr/>
          <a:lstStyle>
            <a:lvl1pPr>
              <a:defRPr lang="en-US" sz="800"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83130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0309748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D9599-6980-4011-8D9E-61D4CF48A4F3}" type="slidenum">
              <a:rPr lang="zh-CN" altLang="en-US"/>
              <a:pPr>
                <a:defRPr/>
              </a:pPr>
              <a:t>‹#›</a:t>
            </a:fld>
            <a:r>
              <a:rPr lang="en-US" altLang="zh-CN"/>
              <a:t> | </a:t>
            </a:r>
            <a:r>
              <a:rPr lang="fr-FR" altLang="zh-CN"/>
              <a:t>Presentation Title | Month 2006 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18396638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5443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815122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0394593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38307188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8489722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AM15_BBE_title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8518" cy="5143500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360566" y="288182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Nokia Pure Headline Light"/>
                <a:cs typeface="Nokia Pure Headline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788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611431" y="0"/>
            <a:ext cx="4536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8"/>
          <p:cNvSpPr>
            <a:spLocks noGrp="1"/>
          </p:cNvSpPr>
          <p:nvPr>
            <p:ph sz="quarter" idx="13"/>
          </p:nvPr>
        </p:nvSpPr>
        <p:spPr>
          <a:xfrm>
            <a:off x="535214" y="1070370"/>
            <a:ext cx="3719286" cy="3320201"/>
          </a:xfrm>
        </p:spPr>
        <p:txBody>
          <a:bodyPr/>
          <a:lstStyle>
            <a:lvl1pPr marL="0" indent="0">
              <a:buFont typeface="Arial"/>
              <a:buNone/>
              <a:defRPr sz="3200">
                <a:solidFill>
                  <a:srgbClr val="124191"/>
                </a:solidFill>
                <a:latin typeface="+mj-lt"/>
              </a:defRPr>
            </a:lvl1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35214" y="288178"/>
            <a:ext cx="3737429" cy="337751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361213" y="1133474"/>
            <a:ext cx="3165929" cy="32752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en-US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432000" y="4789325"/>
            <a:ext cx="6080400" cy="122400"/>
          </a:xfrm>
        </p:spPr>
        <p:txBody>
          <a:bodyPr/>
          <a:lstStyle/>
          <a:p>
            <a:pPr algn="l"/>
            <a:r>
              <a:rPr lang="en-US" noProof="0">
                <a:solidFill>
                  <a:schemeClr val="bg2"/>
                </a:solidFill>
                <a:cs typeface="Arial" charset="0"/>
              </a:rPr>
              <a:t>NGMN Conference</a:t>
            </a:r>
            <a:endParaRPr lang="en-US" noProof="0" dirty="0">
              <a:solidFill>
                <a:schemeClr val="bg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464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702606"/>
          </a:xfrm>
        </p:spPr>
        <p:txBody>
          <a:bodyPr/>
          <a:lstStyle>
            <a:lvl1pPr>
              <a:defRPr sz="6600" b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621060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7254061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6651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37" name="Rechteck 36"/>
          <p:cNvSpPr/>
          <p:nvPr userDrawn="1"/>
        </p:nvSpPr>
        <p:spPr bwMode="auto">
          <a:xfrm flipV="1">
            <a:off x="827584" y="4047914"/>
            <a:ext cx="6192341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 flipV="1">
            <a:off x="431800" y="4047914"/>
            <a:ext cx="360000" cy="360000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10" name="TextBox 5"/>
          <p:cNvSpPr txBox="1"/>
          <p:nvPr/>
        </p:nvSpPr>
        <p:spPr>
          <a:xfrm>
            <a:off x="633844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 rtlCol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 years</a:t>
            </a:r>
          </a:p>
        </p:txBody>
      </p:sp>
      <p:sp>
        <p:nvSpPr>
          <p:cNvPr id="11" name="Rechteck 97"/>
          <p:cNvSpPr/>
          <p:nvPr/>
        </p:nvSpPr>
        <p:spPr>
          <a:xfrm>
            <a:off x="2176871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0 M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2" name="Rechteck 97"/>
          <p:cNvSpPr/>
          <p:nvPr/>
        </p:nvSpPr>
        <p:spPr>
          <a:xfrm>
            <a:off x="4575468" y="4263913"/>
            <a:ext cx="609816" cy="144001"/>
          </a:xfrm>
          <a:prstGeom prst="rect">
            <a:avLst/>
          </a:prstGeom>
          <a:noFill/>
        </p:spPr>
        <p:txBody>
          <a:bodyPr wrap="non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-100 </a:t>
            </a: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x</a:t>
            </a:r>
          </a:p>
        </p:txBody>
      </p:sp>
      <p:sp>
        <p:nvSpPr>
          <p:cNvPr id="13" name="Rechteck 97"/>
          <p:cNvSpPr/>
          <p:nvPr/>
        </p:nvSpPr>
        <p:spPr>
          <a:xfrm>
            <a:off x="919055" y="4263913"/>
            <a:ext cx="609816" cy="144575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10,000 x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4" name="Rechteck 97"/>
          <p:cNvSpPr/>
          <p:nvPr/>
        </p:nvSpPr>
        <p:spPr>
          <a:xfrm>
            <a:off x="5618368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</a:rPr>
              <a:t>ultra low</a:t>
            </a:r>
          </a:p>
        </p:txBody>
      </p:sp>
      <p:sp>
        <p:nvSpPr>
          <p:cNvPr id="15" name="Rechteck 97"/>
          <p:cNvSpPr/>
          <p:nvPr/>
        </p:nvSpPr>
        <p:spPr>
          <a:xfrm>
            <a:off x="1527066" y="4263913"/>
            <a:ext cx="609816" cy="144575"/>
          </a:xfrm>
          <a:prstGeom prst="rect">
            <a:avLst/>
          </a:prstGeom>
          <a:noFill/>
        </p:spPr>
        <p:txBody>
          <a:bodyPr wrap="none" lIns="0" tIns="36000" rIns="0" bIns="3600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gt;10 Gbp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6" name="Rechteck 97"/>
          <p:cNvSpPr/>
          <p:nvPr/>
        </p:nvSpPr>
        <p:spPr>
          <a:xfrm>
            <a:off x="3314112" y="4263913"/>
            <a:ext cx="609816" cy="144001"/>
          </a:xfrm>
          <a:prstGeom prst="rect">
            <a:avLst/>
          </a:prstGeom>
          <a:noFill/>
        </p:spPr>
        <p:txBody>
          <a:bodyPr wrap="square" lIns="0" tIns="3600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>
                <a:solidFill>
                  <a:srgbClr val="98A2AE"/>
                </a:solidFill>
                <a:latin typeface="Nokia Pure Text Light"/>
                <a:cs typeface="Nokia Pure Headline"/>
              </a:rPr>
              <a:t>&lt;1 ms</a:t>
            </a:r>
            <a:endParaRPr lang="en-US" sz="900" dirty="0">
              <a:solidFill>
                <a:srgbClr val="98A2AE"/>
              </a:solidFill>
              <a:latin typeface="Nokia Pure Text Light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4286535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2951820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19" name="Rad 4"/>
          <p:cNvSpPr>
            <a:spLocks noChangeAspect="1"/>
          </p:cNvSpPr>
          <p:nvPr userDrawn="1"/>
        </p:nvSpPr>
        <p:spPr>
          <a:xfrm flipH="1">
            <a:off x="3732880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20" name="Abgerundetes Rechteck 9"/>
          <p:cNvSpPr>
            <a:spLocks noChangeAspect="1"/>
          </p:cNvSpPr>
          <p:nvPr userDrawn="1"/>
        </p:nvSpPr>
        <p:spPr>
          <a:xfrm flipH="1">
            <a:off x="2849762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21" name="Abgerundetes Rechteck 4"/>
          <p:cNvSpPr>
            <a:spLocks noChangeAspect="1"/>
          </p:cNvSpPr>
          <p:nvPr userDrawn="1"/>
        </p:nvSpPr>
        <p:spPr>
          <a:xfrm>
            <a:off x="4673468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2" name="Freeform 105"/>
          <p:cNvSpPr>
            <a:spLocks/>
          </p:cNvSpPr>
          <p:nvPr userDrawn="1"/>
        </p:nvSpPr>
        <p:spPr bwMode="auto">
          <a:xfrm>
            <a:off x="3427758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23" name="Trapezoid 6"/>
          <p:cNvSpPr>
            <a:spLocks noChangeAspect="1"/>
          </p:cNvSpPr>
          <p:nvPr userDrawn="1"/>
        </p:nvSpPr>
        <p:spPr>
          <a:xfrm>
            <a:off x="4990601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4" name="Ellipse 6"/>
          <p:cNvSpPr>
            <a:spLocks noChangeAspect="1"/>
          </p:cNvSpPr>
          <p:nvPr userDrawn="1"/>
        </p:nvSpPr>
        <p:spPr>
          <a:xfrm>
            <a:off x="5543903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5" name="Abgerundetes Rechteck 19"/>
          <p:cNvSpPr>
            <a:spLocks noChangeAspect="1"/>
          </p:cNvSpPr>
          <p:nvPr userDrawn="1"/>
        </p:nvSpPr>
        <p:spPr>
          <a:xfrm>
            <a:off x="5858991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6" name="Abgerundetes Rechteck 19"/>
          <p:cNvSpPr>
            <a:spLocks noChangeAspect="1"/>
          </p:cNvSpPr>
          <p:nvPr userDrawn="1"/>
        </p:nvSpPr>
        <p:spPr>
          <a:xfrm>
            <a:off x="4127567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7" name="Rad 444"/>
          <p:cNvSpPr/>
          <p:nvPr userDrawn="1"/>
        </p:nvSpPr>
        <p:spPr>
          <a:xfrm>
            <a:off x="1721882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8" name="Freeform 3011"/>
          <p:cNvSpPr>
            <a:spLocks noChangeAspect="1"/>
          </p:cNvSpPr>
          <p:nvPr userDrawn="1"/>
        </p:nvSpPr>
        <p:spPr bwMode="auto">
          <a:xfrm>
            <a:off x="6199420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29" name="Rechteck 15"/>
          <p:cNvSpPr>
            <a:spLocks noChangeAspect="1"/>
          </p:cNvSpPr>
          <p:nvPr userDrawn="1"/>
        </p:nvSpPr>
        <p:spPr>
          <a:xfrm>
            <a:off x="1151620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30" name="Abgerundetes Rechteck 20"/>
          <p:cNvSpPr>
            <a:spLocks noChangeAspect="1"/>
          </p:cNvSpPr>
          <p:nvPr userDrawn="1"/>
        </p:nvSpPr>
        <p:spPr>
          <a:xfrm>
            <a:off x="2441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33" name="Freeform 8">
            <a:hlinkClick r:id="" action="ppaction://noaction"/>
          </p:cNvPr>
          <p:cNvSpPr>
            <a:spLocks/>
          </p:cNvSpPr>
          <p:nvPr userDrawn="1"/>
        </p:nvSpPr>
        <p:spPr bwMode="auto">
          <a:xfrm>
            <a:off x="456719" y="4101914"/>
            <a:ext cx="310162" cy="252000"/>
          </a:xfrm>
          <a:custGeom>
            <a:avLst/>
            <a:gdLst/>
            <a:ahLst/>
            <a:cxnLst/>
            <a:rect l="l" t="t" r="r" b="b"/>
            <a:pathLst>
              <a:path w="310162" h="252000">
                <a:moveTo>
                  <a:pt x="226760" y="137340"/>
                </a:moveTo>
                <a:cubicBezTo>
                  <a:pt x="234168" y="136229"/>
                  <a:pt x="242006" y="139315"/>
                  <a:pt x="246396" y="146009"/>
                </a:cubicBezTo>
                <a:cubicBezTo>
                  <a:pt x="246400" y="146014"/>
                  <a:pt x="246879" y="146725"/>
                  <a:pt x="307431" y="236380"/>
                </a:cubicBezTo>
                <a:cubicBezTo>
                  <a:pt x="313284" y="245027"/>
                  <a:pt x="309382" y="252000"/>
                  <a:pt x="299070" y="252000"/>
                </a:cubicBezTo>
                <a:cubicBezTo>
                  <a:pt x="299063" y="252000"/>
                  <a:pt x="298104" y="252000"/>
                  <a:pt x="176442" y="252000"/>
                </a:cubicBezTo>
                <a:cubicBezTo>
                  <a:pt x="166130" y="252000"/>
                  <a:pt x="157490" y="243354"/>
                  <a:pt x="157490" y="233033"/>
                </a:cubicBezTo>
                <a:cubicBezTo>
                  <a:pt x="157490" y="233028"/>
                  <a:pt x="157490" y="232671"/>
                  <a:pt x="157490" y="210192"/>
                </a:cubicBezTo>
                <a:cubicBezTo>
                  <a:pt x="183338" y="209081"/>
                  <a:pt x="203890" y="187717"/>
                  <a:pt x="203890" y="161551"/>
                </a:cubicBezTo>
                <a:cubicBezTo>
                  <a:pt x="203890" y="157686"/>
                  <a:pt x="203441" y="153926"/>
                  <a:pt x="202477" y="150346"/>
                </a:cubicBezTo>
                <a:lnTo>
                  <a:pt x="219640" y="139872"/>
                </a:lnTo>
                <a:cubicBezTo>
                  <a:pt x="221870" y="138548"/>
                  <a:pt x="224291" y="137711"/>
                  <a:pt x="226760" y="137340"/>
                </a:cubicBezTo>
                <a:close/>
                <a:moveTo>
                  <a:pt x="83121" y="137340"/>
                </a:moveTo>
                <a:cubicBezTo>
                  <a:pt x="85590" y="137711"/>
                  <a:pt x="88011" y="138548"/>
                  <a:pt x="90240" y="139872"/>
                </a:cubicBezTo>
                <a:cubicBezTo>
                  <a:pt x="90247" y="139876"/>
                  <a:pt x="90565" y="140068"/>
                  <a:pt x="107541" y="150327"/>
                </a:cubicBezTo>
                <a:cubicBezTo>
                  <a:pt x="106573" y="153912"/>
                  <a:pt x="106123" y="157679"/>
                  <a:pt x="106123" y="161551"/>
                </a:cubicBezTo>
                <a:cubicBezTo>
                  <a:pt x="106123" y="187100"/>
                  <a:pt x="125717" y="208071"/>
                  <a:pt x="150716" y="210009"/>
                </a:cubicBezTo>
                <a:lnTo>
                  <a:pt x="150716" y="233033"/>
                </a:lnTo>
                <a:cubicBezTo>
                  <a:pt x="150716" y="243354"/>
                  <a:pt x="142355" y="252000"/>
                  <a:pt x="131765" y="252000"/>
                </a:cubicBezTo>
                <a:cubicBezTo>
                  <a:pt x="131754" y="252000"/>
                  <a:pt x="130624" y="252000"/>
                  <a:pt x="11093" y="252000"/>
                </a:cubicBezTo>
                <a:cubicBezTo>
                  <a:pt x="781" y="252000"/>
                  <a:pt x="-3121" y="245027"/>
                  <a:pt x="2732" y="236380"/>
                </a:cubicBezTo>
                <a:cubicBezTo>
                  <a:pt x="2737" y="236372"/>
                  <a:pt x="3301" y="235533"/>
                  <a:pt x="63486" y="146009"/>
                </a:cubicBezTo>
                <a:cubicBezTo>
                  <a:pt x="67876" y="139315"/>
                  <a:pt x="75714" y="136229"/>
                  <a:pt x="83121" y="137340"/>
                </a:cubicBezTo>
                <a:close/>
                <a:moveTo>
                  <a:pt x="154867" y="0"/>
                </a:moveTo>
                <a:cubicBezTo>
                  <a:pt x="158700" y="0"/>
                  <a:pt x="162532" y="2534"/>
                  <a:pt x="165459" y="7602"/>
                </a:cubicBezTo>
                <a:cubicBezTo>
                  <a:pt x="165463" y="7610"/>
                  <a:pt x="165987" y="8521"/>
                  <a:pt x="221481" y="105034"/>
                </a:cubicBezTo>
                <a:cubicBezTo>
                  <a:pt x="227334" y="115169"/>
                  <a:pt x="224826" y="128575"/>
                  <a:pt x="215907" y="134787"/>
                </a:cubicBezTo>
                <a:cubicBezTo>
                  <a:pt x="215897" y="134794"/>
                  <a:pt x="215533" y="135053"/>
                  <a:pt x="200950" y="145424"/>
                </a:cubicBezTo>
                <a:cubicBezTo>
                  <a:pt x="194462" y="126313"/>
                  <a:pt x="176329" y="112660"/>
                  <a:pt x="155007" y="112660"/>
                </a:cubicBezTo>
                <a:cubicBezTo>
                  <a:pt x="133685" y="112660"/>
                  <a:pt x="115551" y="126313"/>
                  <a:pt x="109064" y="145424"/>
                </a:cubicBezTo>
                <a:lnTo>
                  <a:pt x="94107" y="134787"/>
                </a:lnTo>
                <a:cubicBezTo>
                  <a:pt x="85188" y="128575"/>
                  <a:pt x="82679" y="115169"/>
                  <a:pt x="88532" y="105034"/>
                </a:cubicBezTo>
                <a:cubicBezTo>
                  <a:pt x="88537" y="105025"/>
                  <a:pt x="89059" y="104113"/>
                  <a:pt x="144276" y="7602"/>
                </a:cubicBezTo>
                <a:cubicBezTo>
                  <a:pt x="147203" y="2534"/>
                  <a:pt x="151035" y="0"/>
                  <a:pt x="15486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  <a:prstDash val="dash"/>
          </a:ln>
          <a:effectLst/>
        </p:spPr>
        <p:txBody>
          <a:bodyPr lIns="71424" tIns="37140" rIns="71424" bIns="37140" anchor="ctr"/>
          <a:lstStyle/>
          <a:p>
            <a:pPr algn="ctr" defTabSz="604723">
              <a:lnSpc>
                <a:spcPct val="90000"/>
              </a:lnSpc>
            </a:pPr>
            <a:endParaRPr lang="en-US" sz="1300">
              <a:solidFill>
                <a:srgbClr val="BEC8D2"/>
              </a:solidFill>
              <a:latin typeface="Nokia Pure Text Light"/>
            </a:endParaRPr>
          </a:p>
        </p:txBody>
      </p:sp>
      <p:sp>
        <p:nvSpPr>
          <p:cNvPr id="35" name="Abgerundetes Rechteck 40"/>
          <p:cNvSpPr>
            <a:spLocks noChangeAspect="1"/>
          </p:cNvSpPr>
          <p:nvPr userDrawn="1"/>
        </p:nvSpPr>
        <p:spPr>
          <a:xfrm>
            <a:off x="6588224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9734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/>
          <p:cNvSpPr/>
          <p:nvPr userDrawn="1"/>
        </p:nvSpPr>
        <p:spPr bwMode="auto">
          <a:xfrm>
            <a:off x="432132" y="1167594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79" name="Rechteck 78"/>
          <p:cNvSpPr/>
          <p:nvPr userDrawn="1"/>
        </p:nvSpPr>
        <p:spPr bwMode="auto">
          <a:xfrm flipV="1">
            <a:off x="431801" y="4056380"/>
            <a:ext cx="4900776" cy="351574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2" name="Rechteck 61"/>
          <p:cNvSpPr/>
          <p:nvPr userDrawn="1"/>
        </p:nvSpPr>
        <p:spPr bwMode="auto">
          <a:xfrm rot="5400000">
            <a:off x="5193132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398" name="Rechteck 397"/>
          <p:cNvSpPr/>
          <p:nvPr userDrawn="1"/>
        </p:nvSpPr>
        <p:spPr bwMode="auto">
          <a:xfrm>
            <a:off x="432132" y="4011910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331" name="Freeform 22"/>
          <p:cNvSpPr>
            <a:spLocks noEditPoints="1"/>
          </p:cNvSpPr>
          <p:nvPr userDrawn="1"/>
        </p:nvSpPr>
        <p:spPr bwMode="auto">
          <a:xfrm>
            <a:off x="3543589" y="3394100"/>
            <a:ext cx="15574" cy="15573"/>
          </a:xfrm>
          <a:custGeom>
            <a:avLst/>
            <a:gdLst>
              <a:gd name="T0" fmla="*/ 16 w 32"/>
              <a:gd name="T1" fmla="*/ 32 h 32"/>
              <a:gd name="T2" fmla="*/ 0 w 32"/>
              <a:gd name="T3" fmla="*/ 16 h 32"/>
              <a:gd name="T4" fmla="*/ 16 w 32"/>
              <a:gd name="T5" fmla="*/ 0 h 32"/>
              <a:gd name="T6" fmla="*/ 32 w 32"/>
              <a:gd name="T7" fmla="*/ 16 h 32"/>
              <a:gd name="T8" fmla="*/ 16 w 32"/>
              <a:gd name="T9" fmla="*/ 32 h 32"/>
              <a:gd name="T10" fmla="*/ 16 w 32"/>
              <a:gd name="T11" fmla="*/ 12 h 32"/>
              <a:gd name="T12" fmla="*/ 12 w 32"/>
              <a:gd name="T13" fmla="*/ 16 h 32"/>
              <a:gd name="T14" fmla="*/ 16 w 32"/>
              <a:gd name="T15" fmla="*/ 20 h 32"/>
              <a:gd name="T16" fmla="*/ 20 w 32"/>
              <a:gd name="T17" fmla="*/ 16 h 32"/>
              <a:gd name="T18" fmla="*/ 16 w 32"/>
              <a:gd name="T19" fmla="*/ 1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  <a:moveTo>
                  <a:pt x="16" y="12"/>
                </a:moveTo>
                <a:cubicBezTo>
                  <a:pt x="13" y="12"/>
                  <a:pt x="12" y="14"/>
                  <a:pt x="12" y="16"/>
                </a:cubicBezTo>
                <a:cubicBezTo>
                  <a:pt x="12" y="18"/>
                  <a:pt x="13" y="20"/>
                  <a:pt x="16" y="20"/>
                </a:cubicBezTo>
                <a:cubicBezTo>
                  <a:pt x="18" y="20"/>
                  <a:pt x="20" y="18"/>
                  <a:pt x="20" y="16"/>
                </a:cubicBezTo>
                <a:cubicBezTo>
                  <a:pt x="20" y="14"/>
                  <a:pt x="18" y="12"/>
                  <a:pt x="1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37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5236" y="593098"/>
            <a:ext cx="8303544" cy="288000"/>
          </a:xfrm>
          <a:prstGeom prst="rect">
            <a:avLst/>
          </a:prstGeom>
        </p:spPr>
        <p:txBody>
          <a:bodyPr lIns="0" tIns="0" rIns="0" bIns="0"/>
          <a:lstStyle>
            <a:lvl1pPr marL="230188" indent="-230188">
              <a:buNone/>
              <a:defRPr lang="en-GB" sz="2000" dirty="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latinLnBrk="0">
              <a:lnSpc>
                <a:spcPct val="100000"/>
              </a:lnSpc>
              <a:buClrTx/>
              <a:buSzTx/>
              <a:tabLst/>
            </a:pPr>
            <a:r>
              <a:rPr lang="en-GB" dirty="0"/>
              <a:t>Click to edit secondary headline</a:t>
            </a:r>
          </a:p>
        </p:txBody>
      </p:sp>
      <p:grpSp>
        <p:nvGrpSpPr>
          <p:cNvPr id="377" name="Gruppieren 376"/>
          <p:cNvGrpSpPr/>
          <p:nvPr userDrawn="1"/>
        </p:nvGrpSpPr>
        <p:grpSpPr>
          <a:xfrm>
            <a:off x="765351" y="4243174"/>
            <a:ext cx="4508649" cy="180019"/>
            <a:chOff x="431800" y="4047494"/>
            <a:chExt cx="4936043" cy="180019"/>
          </a:xfrm>
          <a:noFill/>
        </p:grpSpPr>
        <p:sp>
          <p:nvSpPr>
            <p:cNvPr id="378" name="TextBox 5"/>
            <p:cNvSpPr txBox="1"/>
            <p:nvPr/>
          </p:nvSpPr>
          <p:spPr>
            <a:xfrm>
              <a:off x="470022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 rtlCol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 years</a:t>
              </a:r>
            </a:p>
          </p:txBody>
        </p:sp>
        <p:sp>
          <p:nvSpPr>
            <p:cNvPr id="379" name="Rechteck 97"/>
            <p:cNvSpPr/>
            <p:nvPr/>
          </p:nvSpPr>
          <p:spPr>
            <a:xfrm>
              <a:off x="1854606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0 M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0" name="Rechteck 97"/>
            <p:cNvSpPr/>
            <p:nvPr/>
          </p:nvSpPr>
          <p:spPr>
            <a:xfrm>
              <a:off x="3277412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-100 </a:t>
              </a: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x</a:t>
              </a:r>
            </a:p>
          </p:txBody>
        </p:sp>
        <p:sp>
          <p:nvSpPr>
            <p:cNvPr id="381" name="Rechteck 97"/>
            <p:cNvSpPr/>
            <p:nvPr/>
          </p:nvSpPr>
          <p:spPr>
            <a:xfrm>
              <a:off x="43180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10,000 x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2" name="Rechteck 97"/>
            <p:cNvSpPr/>
            <p:nvPr/>
          </p:nvSpPr>
          <p:spPr>
            <a:xfrm>
              <a:off x="3988815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</a:rPr>
                <a:t>ultra low</a:t>
              </a:r>
            </a:p>
          </p:txBody>
        </p:sp>
        <p:sp>
          <p:nvSpPr>
            <p:cNvPr id="383" name="Rechteck 97"/>
            <p:cNvSpPr/>
            <p:nvPr/>
          </p:nvSpPr>
          <p:spPr>
            <a:xfrm>
              <a:off x="1143203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3600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gt;10 Gbp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384" name="Rechteck 97"/>
            <p:cNvSpPr/>
            <p:nvPr/>
          </p:nvSpPr>
          <p:spPr>
            <a:xfrm>
              <a:off x="2566009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cs typeface="Nokia Pure Headline"/>
                </a:rPr>
                <a:t>&lt;1 ms</a:t>
              </a:r>
              <a:endParaRPr lang="en-US" sz="900" dirty="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385" name="Rechteck 384"/>
          <p:cNvSpPr/>
          <p:nvPr userDrawn="1"/>
        </p:nvSpPr>
        <p:spPr>
          <a:xfrm>
            <a:off x="3329864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386" name="Rechteck 385"/>
          <p:cNvSpPr/>
          <p:nvPr userDrawn="1"/>
        </p:nvSpPr>
        <p:spPr>
          <a:xfrm>
            <a:off x="2717796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40" name="Rad 4"/>
          <p:cNvSpPr>
            <a:spLocks noChangeAspect="1"/>
          </p:cNvSpPr>
          <p:nvPr userDrawn="1"/>
        </p:nvSpPr>
        <p:spPr>
          <a:xfrm flipH="1">
            <a:off x="3184646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tIns="7200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rgbClr val="BEC8D2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41" name="Abgerundetes Rechteck 9"/>
          <p:cNvSpPr>
            <a:spLocks noChangeAspect="1"/>
          </p:cNvSpPr>
          <p:nvPr userDrawn="1"/>
        </p:nvSpPr>
        <p:spPr>
          <a:xfrm flipH="1">
            <a:off x="2571016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A8BBC0"/>
              </a:solidFill>
            </a:endParaRPr>
          </a:p>
        </p:txBody>
      </p:sp>
      <p:sp>
        <p:nvSpPr>
          <p:cNvPr id="42" name="Abgerundetes Rechteck 4"/>
          <p:cNvSpPr>
            <a:spLocks noChangeAspect="1"/>
          </p:cNvSpPr>
          <p:nvPr userDrawn="1"/>
        </p:nvSpPr>
        <p:spPr>
          <a:xfrm>
            <a:off x="3929594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3" name="Freeform 105"/>
          <p:cNvSpPr>
            <a:spLocks/>
          </p:cNvSpPr>
          <p:nvPr userDrawn="1"/>
        </p:nvSpPr>
        <p:spPr bwMode="auto">
          <a:xfrm>
            <a:off x="2977344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4" name="Trapezoid 6"/>
          <p:cNvSpPr>
            <a:spLocks noChangeAspect="1"/>
          </p:cNvSpPr>
          <p:nvPr userDrawn="1"/>
        </p:nvSpPr>
        <p:spPr>
          <a:xfrm>
            <a:off x="4148905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5" name="Ellipse 6"/>
          <p:cNvSpPr>
            <a:spLocks noChangeAspect="1"/>
          </p:cNvSpPr>
          <p:nvPr userDrawn="1"/>
        </p:nvSpPr>
        <p:spPr>
          <a:xfrm>
            <a:off x="4431834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6" name="Abgerundetes Rechteck 19"/>
          <p:cNvSpPr>
            <a:spLocks noChangeAspect="1"/>
          </p:cNvSpPr>
          <p:nvPr userDrawn="1"/>
        </p:nvSpPr>
        <p:spPr>
          <a:xfrm>
            <a:off x="4592293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7" name="Abgerundetes Rechteck 19"/>
          <p:cNvSpPr>
            <a:spLocks noChangeAspect="1"/>
          </p:cNvSpPr>
          <p:nvPr userDrawn="1"/>
        </p:nvSpPr>
        <p:spPr>
          <a:xfrm>
            <a:off x="3481513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/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8" name="Rad 444"/>
          <p:cNvSpPr/>
          <p:nvPr userDrawn="1"/>
        </p:nvSpPr>
        <p:spPr>
          <a:xfrm>
            <a:off x="1655676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9" name="Abgerundetes Rechteck 40"/>
          <p:cNvSpPr>
            <a:spLocks noChangeAspect="1"/>
          </p:cNvSpPr>
          <p:nvPr userDrawn="1"/>
        </p:nvSpPr>
        <p:spPr>
          <a:xfrm>
            <a:off x="5012266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</a:endParaRPr>
          </a:p>
        </p:txBody>
      </p:sp>
      <p:sp>
        <p:nvSpPr>
          <p:cNvPr id="50" name="Freeform 3011"/>
          <p:cNvSpPr>
            <a:spLocks noChangeAspect="1"/>
          </p:cNvSpPr>
          <p:nvPr userDrawn="1"/>
        </p:nvSpPr>
        <p:spPr bwMode="auto">
          <a:xfrm>
            <a:off x="4778093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pPr defTabSz="457171"/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51" name="Rechteck 15"/>
          <p:cNvSpPr>
            <a:spLocks noChangeAspect="1"/>
          </p:cNvSpPr>
          <p:nvPr userDrawn="1"/>
        </p:nvSpPr>
        <p:spPr>
          <a:xfrm>
            <a:off x="1000015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52" name="Abgerundetes Rechteck 20"/>
          <p:cNvSpPr>
            <a:spLocks noChangeAspect="1"/>
          </p:cNvSpPr>
          <p:nvPr userDrawn="1"/>
        </p:nvSpPr>
        <p:spPr>
          <a:xfrm>
            <a:off x="2312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200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55" name="Rechteck 54"/>
          <p:cNvSpPr/>
          <p:nvPr userDrawn="1"/>
        </p:nvSpPr>
        <p:spPr bwMode="auto">
          <a:xfrm>
            <a:off x="9162796" y="84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6" name="Rechteck 55"/>
          <p:cNvSpPr/>
          <p:nvPr userDrawn="1"/>
        </p:nvSpPr>
        <p:spPr bwMode="auto">
          <a:xfrm>
            <a:off x="9162796" y="255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7" name="Rechteck 56"/>
          <p:cNvSpPr/>
          <p:nvPr userDrawn="1"/>
        </p:nvSpPr>
        <p:spPr bwMode="auto">
          <a:xfrm>
            <a:off x="9162796" y="267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8" name="Rechteck 57"/>
          <p:cNvSpPr/>
          <p:nvPr userDrawn="1"/>
        </p:nvSpPr>
        <p:spPr bwMode="auto">
          <a:xfrm>
            <a:off x="9162796" y="438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9" name="Rechteck 58"/>
          <p:cNvSpPr/>
          <p:nvPr userDrawn="1"/>
        </p:nvSpPr>
        <p:spPr bwMode="auto">
          <a:xfrm rot="5400000">
            <a:off x="7083284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0" name="Rechteck 59"/>
          <p:cNvSpPr/>
          <p:nvPr userDrawn="1"/>
        </p:nvSpPr>
        <p:spPr bwMode="auto">
          <a:xfrm rot="5400000">
            <a:off x="6957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1" name="Rechteck 60"/>
          <p:cNvSpPr/>
          <p:nvPr userDrawn="1"/>
        </p:nvSpPr>
        <p:spPr bwMode="auto">
          <a:xfrm rot="5400000">
            <a:off x="5391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4" name="Rad 63"/>
          <p:cNvSpPr/>
          <p:nvPr/>
        </p:nvSpPr>
        <p:spPr>
          <a:xfrm>
            <a:off x="4877439" y="2354581"/>
            <a:ext cx="852541" cy="852541"/>
          </a:xfrm>
          <a:prstGeom prst="donut">
            <a:avLst>
              <a:gd name="adj" fmla="val 3046"/>
            </a:avLst>
          </a:prstGeom>
          <a:solidFill>
            <a:schemeClr val="accent5">
              <a:alpha val="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grpSp>
        <p:nvGrpSpPr>
          <p:cNvPr id="2" name="Gruppieren 1"/>
          <p:cNvGrpSpPr>
            <a:grpSpLocks noChangeAspect="1"/>
          </p:cNvGrpSpPr>
          <p:nvPr userDrawn="1"/>
        </p:nvGrpSpPr>
        <p:grpSpPr>
          <a:xfrm>
            <a:off x="454747" y="4113063"/>
            <a:ext cx="310163" cy="252000"/>
            <a:chOff x="3950993" y="1371507"/>
            <a:chExt cx="2707700" cy="2199942"/>
          </a:xfrm>
          <a:solidFill>
            <a:schemeClr val="accent2"/>
          </a:solidFill>
        </p:grpSpPr>
        <p:sp>
          <p:nvSpPr>
            <p:cNvPr id="65" name="Freeform 8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950993" y="2568533"/>
              <a:ext cx="1315743" cy="1002916"/>
            </a:xfrm>
            <a:custGeom>
              <a:avLst/>
              <a:gdLst/>
              <a:ahLst/>
              <a:cxnLst/>
              <a:rect l="l" t="t" r="r" b="b"/>
              <a:pathLst>
                <a:path w="1315743" h="1002916">
                  <a:moveTo>
                    <a:pt x="725639" y="1939"/>
                  </a:moveTo>
                  <a:cubicBezTo>
                    <a:pt x="747194" y="5173"/>
                    <a:pt x="768330" y="12478"/>
                    <a:pt x="787794" y="24044"/>
                  </a:cubicBezTo>
                  <a:cubicBezTo>
                    <a:pt x="787794" y="24044"/>
                    <a:pt x="787794" y="24044"/>
                    <a:pt x="938831" y="115314"/>
                  </a:cubicBezTo>
                  <a:cubicBezTo>
                    <a:pt x="930376" y="146609"/>
                    <a:pt x="926446" y="179496"/>
                    <a:pt x="926446" y="213301"/>
                  </a:cubicBezTo>
                  <a:cubicBezTo>
                    <a:pt x="926446" y="436338"/>
                    <a:pt x="1097499" y="619419"/>
                    <a:pt x="1315743" y="636338"/>
                  </a:cubicBezTo>
                  <a:lnTo>
                    <a:pt x="1315743" y="837336"/>
                  </a:lnTo>
                  <a:cubicBezTo>
                    <a:pt x="1315743" y="927431"/>
                    <a:pt x="1242755" y="1002916"/>
                    <a:pt x="1150303" y="1002916"/>
                  </a:cubicBezTo>
                  <a:cubicBezTo>
                    <a:pt x="1150303" y="1002916"/>
                    <a:pt x="1150303" y="1002916"/>
                    <a:pt x="96837" y="1002916"/>
                  </a:cubicBezTo>
                  <a:cubicBezTo>
                    <a:pt x="6818" y="1002916"/>
                    <a:pt x="-27244" y="942041"/>
                    <a:pt x="23848" y="866556"/>
                  </a:cubicBezTo>
                  <a:cubicBezTo>
                    <a:pt x="23848" y="866556"/>
                    <a:pt x="23848" y="866556"/>
                    <a:pt x="554231" y="77614"/>
                  </a:cubicBezTo>
                  <a:cubicBezTo>
                    <a:pt x="592550" y="19174"/>
                    <a:pt x="660976" y="-7763"/>
                    <a:pt x="725639" y="1939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68" name="Freeform 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4696266" y="1371507"/>
              <a:ext cx="1215843" cy="1269539"/>
            </a:xfrm>
            <a:custGeom>
              <a:avLst/>
              <a:gdLst/>
              <a:ahLst/>
              <a:cxnLst/>
              <a:rect l="l" t="t" r="r" b="b"/>
              <a:pathLst>
                <a:path w="1215843" h="1269539">
                  <a:moveTo>
                    <a:pt x="606706" y="0"/>
                  </a:moveTo>
                  <a:cubicBezTo>
                    <a:pt x="640162" y="0"/>
                    <a:pt x="673618" y="22120"/>
                    <a:pt x="699167" y="66362"/>
                  </a:cubicBezTo>
                  <a:cubicBezTo>
                    <a:pt x="699167" y="66362"/>
                    <a:pt x="699167" y="66362"/>
                    <a:pt x="1188239" y="916938"/>
                  </a:cubicBezTo>
                  <a:cubicBezTo>
                    <a:pt x="1239336" y="1005421"/>
                    <a:pt x="1217437" y="1122447"/>
                    <a:pt x="1139575" y="1176678"/>
                  </a:cubicBezTo>
                  <a:cubicBezTo>
                    <a:pt x="1139575" y="1176678"/>
                    <a:pt x="1139575" y="1176678"/>
                    <a:pt x="1009001" y="1269539"/>
                  </a:cubicBezTo>
                  <a:cubicBezTo>
                    <a:pt x="952366" y="1102707"/>
                    <a:pt x="794061" y="983515"/>
                    <a:pt x="607922" y="983515"/>
                  </a:cubicBezTo>
                  <a:cubicBezTo>
                    <a:pt x="421783" y="983515"/>
                    <a:pt x="263478" y="1102707"/>
                    <a:pt x="206844" y="1269539"/>
                  </a:cubicBezTo>
                  <a:lnTo>
                    <a:pt x="76269" y="1176678"/>
                  </a:lnTo>
                  <a:cubicBezTo>
                    <a:pt x="-1593" y="1122447"/>
                    <a:pt x="-23492" y="1005421"/>
                    <a:pt x="27605" y="916938"/>
                  </a:cubicBezTo>
                  <a:cubicBezTo>
                    <a:pt x="27605" y="916938"/>
                    <a:pt x="27605" y="916938"/>
                    <a:pt x="514244" y="66362"/>
                  </a:cubicBezTo>
                  <a:cubicBezTo>
                    <a:pt x="539793" y="22120"/>
                    <a:pt x="573249" y="0"/>
                    <a:pt x="606706" y="0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  <p:sp>
          <p:nvSpPr>
            <p:cNvPr id="71" name="Freeform 7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5325869" y="2568533"/>
              <a:ext cx="1332824" cy="1002916"/>
            </a:xfrm>
            <a:custGeom>
              <a:avLst/>
              <a:gdLst/>
              <a:ahLst/>
              <a:cxnLst/>
              <a:rect l="l" t="t" r="r" b="b"/>
              <a:pathLst>
                <a:path w="1332824" h="1002916">
                  <a:moveTo>
                    <a:pt x="604725" y="1939"/>
                  </a:moveTo>
                  <a:cubicBezTo>
                    <a:pt x="669391" y="-7763"/>
                    <a:pt x="737820" y="19174"/>
                    <a:pt x="776140" y="77614"/>
                  </a:cubicBezTo>
                  <a:cubicBezTo>
                    <a:pt x="776140" y="77614"/>
                    <a:pt x="776140" y="77614"/>
                    <a:pt x="1308976" y="866556"/>
                  </a:cubicBezTo>
                  <a:cubicBezTo>
                    <a:pt x="1360070" y="942041"/>
                    <a:pt x="1326008" y="1002916"/>
                    <a:pt x="1235985" y="1002916"/>
                  </a:cubicBezTo>
                  <a:cubicBezTo>
                    <a:pt x="1235985" y="1002916"/>
                    <a:pt x="1235985" y="1002916"/>
                    <a:pt x="165447" y="1002916"/>
                  </a:cubicBezTo>
                  <a:cubicBezTo>
                    <a:pt x="75425" y="1002916"/>
                    <a:pt x="0" y="927431"/>
                    <a:pt x="0" y="837336"/>
                  </a:cubicBezTo>
                  <a:cubicBezTo>
                    <a:pt x="0" y="837336"/>
                    <a:pt x="0" y="837336"/>
                    <a:pt x="0" y="637928"/>
                  </a:cubicBezTo>
                  <a:cubicBezTo>
                    <a:pt x="225655" y="628235"/>
                    <a:pt x="405066" y="441723"/>
                    <a:pt x="405066" y="213301"/>
                  </a:cubicBezTo>
                  <a:cubicBezTo>
                    <a:pt x="405066" y="179557"/>
                    <a:pt x="401151" y="146727"/>
                    <a:pt x="392733" y="115481"/>
                  </a:cubicBezTo>
                  <a:lnTo>
                    <a:pt x="542568" y="24044"/>
                  </a:lnTo>
                  <a:cubicBezTo>
                    <a:pt x="562033" y="12478"/>
                    <a:pt x="583170" y="5173"/>
                    <a:pt x="604725" y="1939"/>
                  </a:cubicBezTo>
                  <a:close/>
                </a:path>
              </a:pathLst>
            </a:custGeom>
            <a:grpFill/>
            <a:ln>
              <a:noFill/>
              <a:prstDash val="solid"/>
            </a:ln>
            <a:effectLst/>
          </p:spPr>
          <p:txBody>
            <a:bodyPr lIns="71424" tIns="37140" rIns="71424" bIns="37140" anchor="ctr"/>
            <a:lstStyle/>
            <a:p>
              <a:pPr algn="ctr" defTabSz="604723">
                <a:lnSpc>
                  <a:spcPct val="90000"/>
                </a:lnSpc>
              </a:pPr>
              <a:endParaRPr lang="en-US" sz="1300">
                <a:solidFill>
                  <a:srgbClr val="BEC8D2"/>
                </a:solidFill>
                <a:latin typeface="Nokia Pure Text Light"/>
              </a:endParaRPr>
            </a:p>
          </p:txBody>
        </p:sp>
      </p:grpSp>
      <p:sp>
        <p:nvSpPr>
          <p:cNvPr id="63" name="Rechteck 62"/>
          <p:cNvSpPr/>
          <p:nvPr userDrawn="1"/>
        </p:nvSpPr>
        <p:spPr>
          <a:xfrm>
            <a:off x="804723" y="4056380"/>
            <a:ext cx="36000" cy="35153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98A2AE"/>
              </a:solidFill>
            </a:endParaRPr>
          </a:p>
        </p:txBody>
      </p:sp>
      <p:sp>
        <p:nvSpPr>
          <p:cNvPr id="53" name="Rechteck 52"/>
          <p:cNvSpPr/>
          <p:nvPr userDrawn="1"/>
        </p:nvSpPr>
        <p:spPr>
          <a:xfrm>
            <a:off x="431540" y="1095586"/>
            <a:ext cx="4824000" cy="29160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4016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842965"/>
            <a:ext cx="9144000" cy="356552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Ellipse 6"/>
          <p:cNvSpPr/>
          <p:nvPr userDrawn="1"/>
        </p:nvSpPr>
        <p:spPr>
          <a:xfrm>
            <a:off x="432000" y="842964"/>
            <a:ext cx="8279598" cy="3565525"/>
          </a:xfrm>
          <a:custGeom>
            <a:avLst/>
            <a:gdLst/>
            <a:ahLst/>
            <a:cxnLst/>
            <a:rect l="l" t="t" r="r" b="b"/>
            <a:pathLst>
              <a:path w="8279598" h="3565525">
                <a:moveTo>
                  <a:pt x="4139799" y="320473"/>
                </a:moveTo>
                <a:cubicBezTo>
                  <a:pt x="3362605" y="320473"/>
                  <a:pt x="2732564" y="950514"/>
                  <a:pt x="2732564" y="1727708"/>
                </a:cubicBezTo>
                <a:cubicBezTo>
                  <a:pt x="2732564" y="2504902"/>
                  <a:pt x="3362605" y="3134943"/>
                  <a:pt x="4139799" y="3134943"/>
                </a:cubicBezTo>
                <a:cubicBezTo>
                  <a:pt x="4916993" y="3134943"/>
                  <a:pt x="5547034" y="2504902"/>
                  <a:pt x="5547034" y="1727708"/>
                </a:cubicBezTo>
                <a:cubicBezTo>
                  <a:pt x="5547034" y="950514"/>
                  <a:pt x="4916993" y="320473"/>
                  <a:pt x="4139799" y="320473"/>
                </a:cubicBezTo>
                <a:close/>
                <a:moveTo>
                  <a:pt x="402663" y="0"/>
                </a:moveTo>
                <a:lnTo>
                  <a:pt x="7876935" y="0"/>
                </a:lnTo>
                <a:cubicBezTo>
                  <a:pt x="8135169" y="539733"/>
                  <a:pt x="8279598" y="1144231"/>
                  <a:pt x="8279598" y="1782463"/>
                </a:cubicBezTo>
                <a:cubicBezTo>
                  <a:pt x="8279598" y="2420929"/>
                  <a:pt x="8135064" y="3025636"/>
                  <a:pt x="7876664" y="3565525"/>
                </a:cubicBezTo>
                <a:lnTo>
                  <a:pt x="402934" y="3565525"/>
                </a:lnTo>
                <a:cubicBezTo>
                  <a:pt x="144535" y="3025636"/>
                  <a:pt x="0" y="2420929"/>
                  <a:pt x="0" y="1782463"/>
                </a:cubicBezTo>
                <a:cubicBezTo>
                  <a:pt x="0" y="1144231"/>
                  <a:pt x="144429" y="539733"/>
                  <a:pt x="402663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7" name="Kreis 42"/>
          <p:cNvSpPr/>
          <p:nvPr userDrawn="1"/>
        </p:nvSpPr>
        <p:spPr>
          <a:xfrm>
            <a:off x="647540" y="842964"/>
            <a:ext cx="7820747" cy="3565525"/>
          </a:xfrm>
          <a:custGeom>
            <a:avLst/>
            <a:gdLst/>
            <a:ahLst/>
            <a:cxnLst/>
            <a:rect l="l" t="t" r="r" b="b"/>
            <a:pathLst>
              <a:path w="7820747" h="3565525">
                <a:moveTo>
                  <a:pt x="429298" y="0"/>
                </a:moveTo>
                <a:lnTo>
                  <a:pt x="7391763" y="0"/>
                </a:lnTo>
                <a:cubicBezTo>
                  <a:pt x="7651122" y="505499"/>
                  <a:pt x="7803791" y="1075686"/>
                  <a:pt x="7819421" y="1681629"/>
                </a:cubicBezTo>
                <a:cubicBezTo>
                  <a:pt x="7836912" y="2359709"/>
                  <a:pt x="7680714" y="3001920"/>
                  <a:pt x="7391117" y="3565525"/>
                </a:cubicBezTo>
                <a:lnTo>
                  <a:pt x="3956445" y="3565525"/>
                </a:lnTo>
                <a:lnTo>
                  <a:pt x="3945292" y="3133881"/>
                </a:lnTo>
                <a:cubicBezTo>
                  <a:pt x="4712796" y="3123537"/>
                  <a:pt x="5331494" y="2497875"/>
                  <a:pt x="5331494" y="1727708"/>
                </a:cubicBezTo>
                <a:cubicBezTo>
                  <a:pt x="5331494" y="950514"/>
                  <a:pt x="4701453" y="320473"/>
                  <a:pt x="3924259" y="320473"/>
                </a:cubicBezTo>
                <a:cubicBezTo>
                  <a:pt x="3147065" y="320473"/>
                  <a:pt x="2517024" y="950514"/>
                  <a:pt x="2517024" y="1727708"/>
                </a:cubicBezTo>
                <a:cubicBezTo>
                  <a:pt x="2517024" y="2504902"/>
                  <a:pt x="3147065" y="3134943"/>
                  <a:pt x="3924259" y="3134943"/>
                </a:cubicBezTo>
                <a:cubicBezTo>
                  <a:pt x="3931208" y="3134943"/>
                  <a:pt x="3938146" y="3134893"/>
                  <a:pt x="3945058" y="3133893"/>
                </a:cubicBezTo>
                <a:lnTo>
                  <a:pt x="3956136" y="3565525"/>
                </a:lnTo>
                <a:lnTo>
                  <a:pt x="429264" y="3565525"/>
                </a:lnTo>
                <a:cubicBezTo>
                  <a:pt x="169693" y="3059773"/>
                  <a:pt x="16904" y="2489260"/>
                  <a:pt x="1317" y="1882960"/>
                </a:cubicBezTo>
                <a:cubicBezTo>
                  <a:pt x="-16106" y="1205243"/>
                  <a:pt x="139971" y="563372"/>
                  <a:pt x="429298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9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2518074" y="320473"/>
                </a:moveTo>
                <a:cubicBezTo>
                  <a:pt x="1740880" y="320473"/>
                  <a:pt x="1110839" y="950514"/>
                  <a:pt x="1110839" y="1727708"/>
                </a:cubicBezTo>
                <a:cubicBezTo>
                  <a:pt x="1110839" y="2504902"/>
                  <a:pt x="1740880" y="3134943"/>
                  <a:pt x="2518074" y="3134943"/>
                </a:cubicBezTo>
                <a:cubicBezTo>
                  <a:pt x="3295268" y="3134943"/>
                  <a:pt x="3925309" y="2504902"/>
                  <a:pt x="3925309" y="1727708"/>
                </a:cubicBezTo>
                <a:cubicBezTo>
                  <a:pt x="3925309" y="950514"/>
                  <a:pt x="3295268" y="320473"/>
                  <a:pt x="2518074" y="320473"/>
                </a:cubicBezTo>
                <a:close/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83752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9" grpId="0" animBg="1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9" name="Rectangle 5"/>
          <p:cNvSpPr/>
          <p:nvPr userDrawn="1"/>
        </p:nvSpPr>
        <p:spPr>
          <a:xfrm>
            <a:off x="378000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Rectangle 7"/>
          <p:cNvSpPr/>
          <p:nvPr userDrawn="1"/>
        </p:nvSpPr>
        <p:spPr>
          <a:xfrm>
            <a:off x="545423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90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1" name="Rectangle 11"/>
          <p:cNvSpPr/>
          <p:nvPr userDrawn="1"/>
        </p:nvSpPr>
        <p:spPr>
          <a:xfrm>
            <a:off x="378000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" name="Rectangle 12"/>
          <p:cNvSpPr/>
          <p:nvPr userDrawn="1"/>
        </p:nvSpPr>
        <p:spPr>
          <a:xfrm>
            <a:off x="545423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90000" bIns="90000" anchor="ctr"/>
          <a:lstStyle/>
          <a:p>
            <a:pPr algn="r">
              <a:lnSpc>
                <a:spcPct val="90000"/>
              </a:lnSpc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3" name="Rectangle 7"/>
          <p:cNvSpPr/>
          <p:nvPr userDrawn="1"/>
        </p:nvSpPr>
        <p:spPr>
          <a:xfrm>
            <a:off x="712846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anchor="ctr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4" name="Rectangle 8"/>
          <p:cNvSpPr/>
          <p:nvPr userDrawn="1"/>
        </p:nvSpPr>
        <p:spPr>
          <a:xfrm>
            <a:off x="712846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144000" bIns="90000" anchor="t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001135"/>
              </a:solidFill>
              <a:cs typeface="Arial" pitchFamily="34" charset="0"/>
            </a:endParaRPr>
          </a:p>
        </p:txBody>
      </p:sp>
      <p:sp>
        <p:nvSpPr>
          <p:cNvPr id="25" name="Rectangle 8"/>
          <p:cNvSpPr/>
          <p:nvPr userDrawn="1"/>
        </p:nvSpPr>
        <p:spPr>
          <a:xfrm>
            <a:off x="210577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144000" bIns="90000" anchor="t"/>
          <a:lstStyle/>
          <a:p>
            <a:pPr algn="r">
              <a:lnSpc>
                <a:spcPct val="90000"/>
              </a:lnSpc>
              <a:spcAft>
                <a:spcPts val="600"/>
              </a:spcAft>
              <a:defRPr/>
            </a:pPr>
            <a:endParaRPr lang="en-GB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" name="Rectangle 9"/>
          <p:cNvSpPr/>
          <p:nvPr userDrawn="1"/>
        </p:nvSpPr>
        <p:spPr>
          <a:xfrm>
            <a:off x="210577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124191"/>
              </a:solidFill>
              <a:cs typeface="Arial" pitchFamily="34" charset="0"/>
            </a:endParaRPr>
          </a:p>
        </p:txBody>
      </p:sp>
      <p:sp>
        <p:nvSpPr>
          <p:cNvPr id="27" name="Rectangle 4"/>
          <p:cNvSpPr/>
          <p:nvPr userDrawn="1"/>
        </p:nvSpPr>
        <p:spPr>
          <a:xfrm>
            <a:off x="431540" y="842962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8" name="Rectangle 4"/>
          <p:cNvSpPr/>
          <p:nvPr userDrawn="1"/>
        </p:nvSpPr>
        <p:spPr>
          <a:xfrm>
            <a:off x="431540" y="2679954"/>
            <a:ext cx="1584000" cy="1728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/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endParaRPr lang="en-US" sz="16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4321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727247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Nokia White 0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35222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8191197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041407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64643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901301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0"/>
            <a:ext cx="8244000" cy="22536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/>
            </a:lvl1pPr>
            <a:lvl2pPr marL="230188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46621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606312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9500624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877963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5057676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433155" y="842963"/>
            <a:ext cx="8280400" cy="35655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648" name="Ellipse 647"/>
          <p:cNvSpPr/>
          <p:nvPr userDrawn="1"/>
        </p:nvSpPr>
        <p:spPr>
          <a:xfrm>
            <a:off x="432000" y="848312"/>
            <a:ext cx="8175694" cy="3560176"/>
          </a:xfrm>
          <a:custGeom>
            <a:avLst/>
            <a:gdLst/>
            <a:ahLst/>
            <a:cxnLst/>
            <a:rect l="l" t="t" r="r" b="b"/>
            <a:pathLst>
              <a:path w="8175694" h="3560176">
                <a:moveTo>
                  <a:pt x="409070" y="0"/>
                </a:moveTo>
                <a:lnTo>
                  <a:pt x="7766624" y="0"/>
                </a:lnTo>
                <a:cubicBezTo>
                  <a:pt x="8028794" y="538970"/>
                  <a:pt x="8175694" y="1144279"/>
                  <a:pt x="8175694" y="1783897"/>
                </a:cubicBezTo>
                <a:cubicBezTo>
                  <a:pt x="8175694" y="2420472"/>
                  <a:pt x="8030189" y="3023062"/>
                  <a:pt x="7770526" y="3560176"/>
                </a:cubicBezTo>
                <a:lnTo>
                  <a:pt x="405168" y="3560176"/>
                </a:lnTo>
                <a:cubicBezTo>
                  <a:pt x="145505" y="3023062"/>
                  <a:pt x="0" y="2420472"/>
                  <a:pt x="0" y="1783897"/>
                </a:cubicBezTo>
                <a:cubicBezTo>
                  <a:pt x="0" y="1144279"/>
                  <a:pt x="146900" y="538970"/>
                  <a:pt x="409070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3" name="Ellipse 642"/>
          <p:cNvSpPr/>
          <p:nvPr userDrawn="1"/>
        </p:nvSpPr>
        <p:spPr>
          <a:xfrm>
            <a:off x="628166" y="280400"/>
            <a:ext cx="7783363" cy="4703618"/>
          </a:xfrm>
          <a:custGeom>
            <a:avLst/>
            <a:gdLst/>
            <a:ahLst/>
            <a:cxnLst/>
            <a:rect l="l" t="t" r="r" b="b"/>
            <a:pathLst>
              <a:path w="7783363" h="4703618">
                <a:moveTo>
                  <a:pt x="2351806" y="0"/>
                </a:moveTo>
                <a:cubicBezTo>
                  <a:pt x="2941384" y="0"/>
                  <a:pt x="3480291" y="216949"/>
                  <a:pt x="3891682" y="576946"/>
                </a:cubicBezTo>
                <a:cubicBezTo>
                  <a:pt x="4303073" y="216949"/>
                  <a:pt x="4841979" y="0"/>
                  <a:pt x="5431557" y="0"/>
                </a:cubicBezTo>
                <a:cubicBezTo>
                  <a:pt x="6730424" y="0"/>
                  <a:pt x="7783363" y="1052941"/>
                  <a:pt x="7783363" y="2351809"/>
                </a:cubicBezTo>
                <a:cubicBezTo>
                  <a:pt x="7783363" y="3650677"/>
                  <a:pt x="6730424" y="4703618"/>
                  <a:pt x="5431557" y="4703618"/>
                </a:cubicBezTo>
                <a:cubicBezTo>
                  <a:pt x="4841979" y="4703618"/>
                  <a:pt x="4303073" y="4486670"/>
                  <a:pt x="3891682" y="4126673"/>
                </a:cubicBezTo>
                <a:cubicBezTo>
                  <a:pt x="3480291" y="4486670"/>
                  <a:pt x="2941384" y="4703618"/>
                  <a:pt x="2351806" y="4703618"/>
                </a:cubicBezTo>
                <a:cubicBezTo>
                  <a:pt x="1052939" y="4703618"/>
                  <a:pt x="0" y="3650677"/>
                  <a:pt x="0" y="2351809"/>
                </a:cubicBezTo>
                <a:cubicBezTo>
                  <a:pt x="0" y="1052941"/>
                  <a:pt x="1052939" y="0"/>
                  <a:pt x="2351806" y="0"/>
                </a:cubicBezTo>
                <a:close/>
              </a:path>
            </a:pathLst>
          </a:custGeom>
          <a:solidFill>
            <a:schemeClr val="bg1">
              <a:alpha val="30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 panose="020B0304040602060303" pitchFamily="34" charset="0"/>
            </a:endParaRPr>
          </a:p>
        </p:txBody>
      </p:sp>
      <p:sp>
        <p:nvSpPr>
          <p:cNvPr id="638" name="Ellipse 7"/>
          <p:cNvSpPr/>
          <p:nvPr userDrawn="1"/>
        </p:nvSpPr>
        <p:spPr>
          <a:xfrm>
            <a:off x="2053725" y="842964"/>
            <a:ext cx="5036148" cy="3565525"/>
          </a:xfrm>
          <a:custGeom>
            <a:avLst/>
            <a:gdLst/>
            <a:ahLst/>
            <a:cxnLst/>
            <a:rect l="l" t="t" r="r" b="b"/>
            <a:pathLst>
              <a:path w="5036148" h="3565525">
                <a:moveTo>
                  <a:pt x="739635" y="0"/>
                </a:moveTo>
                <a:lnTo>
                  <a:pt x="4296514" y="0"/>
                </a:lnTo>
                <a:cubicBezTo>
                  <a:pt x="4753473" y="455745"/>
                  <a:pt x="5036148" y="1086093"/>
                  <a:pt x="5036148" y="1782463"/>
                </a:cubicBezTo>
                <a:cubicBezTo>
                  <a:pt x="5036148" y="2479153"/>
                  <a:pt x="4753213" y="3109761"/>
                  <a:pt x="4295855" y="3565525"/>
                </a:cubicBezTo>
                <a:lnTo>
                  <a:pt x="740294" y="3565525"/>
                </a:lnTo>
                <a:cubicBezTo>
                  <a:pt x="282935" y="3109761"/>
                  <a:pt x="0" y="2479153"/>
                  <a:pt x="0" y="1782463"/>
                </a:cubicBezTo>
                <a:cubicBezTo>
                  <a:pt x="0" y="1086093"/>
                  <a:pt x="282675" y="455745"/>
                  <a:pt x="739635" y="0"/>
                </a:cubicBezTo>
                <a:close/>
              </a:path>
            </a:pathLst>
          </a:custGeom>
          <a:gradFill flip="none" rotWithShape="1">
            <a:gsLst>
              <a:gs pos="55000">
                <a:schemeClr val="bg1">
                  <a:alpha val="0"/>
                </a:schemeClr>
              </a:gs>
              <a:gs pos="100000">
                <a:schemeClr val="bg1">
                  <a:alpha val="3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39" name="Ellipse 638"/>
          <p:cNvSpPr/>
          <p:nvPr userDrawn="1"/>
        </p:nvSpPr>
        <p:spPr>
          <a:xfrm flipH="1">
            <a:off x="4416754" y="2513498"/>
            <a:ext cx="310492" cy="244200"/>
          </a:xfrm>
          <a:prstGeom prst="ellipse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0" name="Ellipse 19"/>
          <p:cNvSpPr/>
          <p:nvPr userDrawn="1"/>
        </p:nvSpPr>
        <p:spPr>
          <a:xfrm flipH="1">
            <a:off x="3527978" y="1594144"/>
            <a:ext cx="2082610" cy="2082912"/>
          </a:xfrm>
          <a:custGeom>
            <a:avLst/>
            <a:gdLst/>
            <a:ahLst/>
            <a:cxnLst/>
            <a:rect l="l" t="t" r="r" b="b"/>
            <a:pathLst>
              <a:path w="2082610" h="2082912">
                <a:moveTo>
                  <a:pt x="1058406" y="0"/>
                </a:moveTo>
                <a:lnTo>
                  <a:pt x="1058406" y="340217"/>
                </a:lnTo>
                <a:cubicBezTo>
                  <a:pt x="1058406" y="350158"/>
                  <a:pt x="1050347" y="358217"/>
                  <a:pt x="1040406" y="358217"/>
                </a:cubicBezTo>
                <a:cubicBezTo>
                  <a:pt x="1030465" y="358217"/>
                  <a:pt x="1022406" y="350158"/>
                  <a:pt x="1022406" y="340217"/>
                </a:cubicBezTo>
                <a:lnTo>
                  <a:pt x="1022406" y="101"/>
                </a:lnTo>
                <a:cubicBezTo>
                  <a:pt x="461516" y="9307"/>
                  <a:pt x="8761" y="462394"/>
                  <a:pt x="0" y="1023454"/>
                </a:cubicBezTo>
                <a:lnTo>
                  <a:pt x="346260" y="1023454"/>
                </a:lnTo>
                <a:cubicBezTo>
                  <a:pt x="356201" y="1023454"/>
                  <a:pt x="364260" y="1031513"/>
                  <a:pt x="364260" y="1041454"/>
                </a:cubicBezTo>
                <a:cubicBezTo>
                  <a:pt x="364260" y="1051395"/>
                  <a:pt x="356201" y="1059454"/>
                  <a:pt x="346260" y="1059454"/>
                </a:cubicBezTo>
                <a:lnTo>
                  <a:pt x="10" y="1059454"/>
                </a:lnTo>
                <a:cubicBezTo>
                  <a:pt x="8767" y="1620516"/>
                  <a:pt x="461515" y="2073613"/>
                  <a:pt x="1022406" y="2082821"/>
                </a:cubicBezTo>
                <a:lnTo>
                  <a:pt x="1022406" y="1735592"/>
                </a:lnTo>
                <a:cubicBezTo>
                  <a:pt x="1022406" y="1725651"/>
                  <a:pt x="1030465" y="1717592"/>
                  <a:pt x="1040406" y="1717592"/>
                </a:cubicBezTo>
                <a:cubicBezTo>
                  <a:pt x="1050347" y="1717592"/>
                  <a:pt x="1058406" y="1725651"/>
                  <a:pt x="1058406" y="1735592"/>
                </a:cubicBezTo>
                <a:lnTo>
                  <a:pt x="1058406" y="2082912"/>
                </a:lnTo>
                <a:cubicBezTo>
                  <a:pt x="1620131" y="2074588"/>
                  <a:pt x="2073844" y="1621119"/>
                  <a:pt x="2082610" y="1059454"/>
                </a:cubicBezTo>
                <a:lnTo>
                  <a:pt x="1742482" y="1059454"/>
                </a:lnTo>
                <a:cubicBezTo>
                  <a:pt x="1732541" y="1059454"/>
                  <a:pt x="1724482" y="1051395"/>
                  <a:pt x="1724482" y="1041454"/>
                </a:cubicBezTo>
                <a:cubicBezTo>
                  <a:pt x="1724482" y="1031513"/>
                  <a:pt x="1732541" y="1023454"/>
                  <a:pt x="1742482" y="1023454"/>
                </a:cubicBezTo>
                <a:lnTo>
                  <a:pt x="2082610" y="1023454"/>
                </a:lnTo>
                <a:cubicBezTo>
                  <a:pt x="2073841" y="461791"/>
                  <a:pt x="1620130" y="8324"/>
                  <a:pt x="1058406" y="0"/>
                </a:cubicBezTo>
                <a:close/>
              </a:path>
            </a:pathLst>
          </a:custGeom>
          <a:gradFill flip="none" rotWithShape="1">
            <a:gsLst>
              <a:gs pos="1000">
                <a:schemeClr val="accent1">
                  <a:alpha val="0"/>
                </a:schemeClr>
              </a:gs>
              <a:gs pos="100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effectLst/>
        </p:spPr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124191"/>
              </a:solidFill>
              <a:latin typeface="Nokia Pure Text Light"/>
            </a:endParaRPr>
          </a:p>
        </p:txBody>
      </p:sp>
      <p:sp>
        <p:nvSpPr>
          <p:cNvPr id="641" name="Rechteck 640">
            <a:hlinkClick r:id="" action="ppaction://hlinkshowjump?jump=previousslide"/>
          </p:cNvPr>
          <p:cNvSpPr/>
          <p:nvPr userDrawn="1"/>
        </p:nvSpPr>
        <p:spPr>
          <a:xfrm>
            <a:off x="1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642" name="Rechteck 641">
            <a:hlinkClick r:id="" action="ppaction://hlinkshowjump?jump=nextslide"/>
          </p:cNvPr>
          <p:cNvSpPr/>
          <p:nvPr userDrawn="1"/>
        </p:nvSpPr>
        <p:spPr>
          <a:xfrm>
            <a:off x="8784468" y="842963"/>
            <a:ext cx="359532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0"/>
            <a:ext cx="9144000" cy="8429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7021279" y="3240376"/>
            <a:ext cx="1692276" cy="116811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</a:rPr>
              <a:t>Brooklyn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5G Summits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908616" y="552857"/>
            <a:ext cx="7227780" cy="4145738"/>
            <a:chOff x="827584" y="663478"/>
            <a:chExt cx="6842062" cy="3924496"/>
          </a:xfrm>
        </p:grpSpPr>
        <p:grpSp>
          <p:nvGrpSpPr>
            <p:cNvPr id="11" name="Gruppieren 10"/>
            <p:cNvGrpSpPr/>
            <p:nvPr userDrawn="1"/>
          </p:nvGrpSpPr>
          <p:grpSpPr>
            <a:xfrm>
              <a:off x="827584" y="663478"/>
              <a:ext cx="6842062" cy="3924496"/>
              <a:chOff x="1223628" y="1275606"/>
              <a:chExt cx="4643859" cy="2663639"/>
            </a:xfrm>
            <a:solidFill>
              <a:schemeClr val="bg1"/>
            </a:solidFill>
          </p:grpSpPr>
          <p:sp>
            <p:nvSpPr>
              <p:cNvPr id="12" name="Ellipse 11"/>
              <p:cNvSpPr/>
              <p:nvPr/>
            </p:nvSpPr>
            <p:spPr>
              <a:xfrm>
                <a:off x="122362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  <p:sp>
            <p:nvSpPr>
              <p:cNvPr id="13" name="Ellipse 12"/>
              <p:cNvSpPr/>
              <p:nvPr/>
            </p:nvSpPr>
            <p:spPr>
              <a:xfrm>
                <a:off x="3203848" y="1275606"/>
                <a:ext cx="2663639" cy="2663639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3154"/>
                  </a:solidFill>
                </a:endParaRPr>
              </a:p>
            </p:txBody>
          </p:sp>
        </p:grpSp>
        <p:grpSp>
          <p:nvGrpSpPr>
            <p:cNvPr id="21" name="Gruppieren 20"/>
            <p:cNvGrpSpPr/>
            <p:nvPr userDrawn="1"/>
          </p:nvGrpSpPr>
          <p:grpSpPr>
            <a:xfrm>
              <a:off x="1031428" y="1270113"/>
              <a:ext cx="6216263" cy="2921817"/>
              <a:chOff x="1802724" y="1270113"/>
              <a:chExt cx="5538554" cy="2603275"/>
            </a:xfrm>
            <a:solidFill>
              <a:schemeClr val="accent1">
                <a:alpha val="16000"/>
              </a:schemeClr>
            </a:solidFill>
          </p:grpSpPr>
          <p:grpSp>
            <p:nvGrpSpPr>
              <p:cNvPr id="22" name="Group 337"/>
              <p:cNvGrpSpPr>
                <a:grpSpLocks/>
              </p:cNvGrpSpPr>
              <p:nvPr/>
            </p:nvGrpSpPr>
            <p:grpSpPr bwMode="auto">
              <a:xfrm>
                <a:off x="2848300" y="2566931"/>
                <a:ext cx="840961" cy="1306457"/>
                <a:chOff x="2174876" y="3565526"/>
                <a:chExt cx="1246188" cy="1936750"/>
              </a:xfrm>
              <a:grpFill/>
            </p:grpSpPr>
            <p:sp>
              <p:nvSpPr>
                <p:cNvPr id="604" name="Freeform 108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5" name="Freeform 109"/>
                <p:cNvSpPr>
                  <a:spLocks/>
                </p:cNvSpPr>
                <p:nvPr/>
              </p:nvSpPr>
              <p:spPr bwMode="auto">
                <a:xfrm>
                  <a:off x="2230439" y="3565526"/>
                  <a:ext cx="319088" cy="469900"/>
                </a:xfrm>
                <a:custGeom>
                  <a:avLst/>
                  <a:gdLst>
                    <a:gd name="T0" fmla="*/ 2147483647 w 201"/>
                    <a:gd name="T1" fmla="*/ 2147483647 h 296"/>
                    <a:gd name="T2" fmla="*/ 2147483647 w 201"/>
                    <a:gd name="T3" fmla="*/ 2147483647 h 296"/>
                    <a:gd name="T4" fmla="*/ 2147483647 w 201"/>
                    <a:gd name="T5" fmla="*/ 2147483647 h 296"/>
                    <a:gd name="T6" fmla="*/ 2147483647 w 201"/>
                    <a:gd name="T7" fmla="*/ 2147483647 h 296"/>
                    <a:gd name="T8" fmla="*/ 2147483647 w 201"/>
                    <a:gd name="T9" fmla="*/ 2147483647 h 296"/>
                    <a:gd name="T10" fmla="*/ 2147483647 w 201"/>
                    <a:gd name="T11" fmla="*/ 2147483647 h 296"/>
                    <a:gd name="T12" fmla="*/ 2147483647 w 201"/>
                    <a:gd name="T13" fmla="*/ 2147483647 h 296"/>
                    <a:gd name="T14" fmla="*/ 2147483647 w 201"/>
                    <a:gd name="T15" fmla="*/ 2147483647 h 296"/>
                    <a:gd name="T16" fmla="*/ 0 w 201"/>
                    <a:gd name="T17" fmla="*/ 2147483647 h 296"/>
                    <a:gd name="T18" fmla="*/ 2147483647 w 201"/>
                    <a:gd name="T19" fmla="*/ 2147483647 h 296"/>
                    <a:gd name="T20" fmla="*/ 2147483647 w 201"/>
                    <a:gd name="T21" fmla="*/ 2147483647 h 296"/>
                    <a:gd name="T22" fmla="*/ 2147483647 w 201"/>
                    <a:gd name="T23" fmla="*/ 2147483647 h 296"/>
                    <a:gd name="T24" fmla="*/ 2147483647 w 201"/>
                    <a:gd name="T25" fmla="*/ 2147483647 h 296"/>
                    <a:gd name="T26" fmla="*/ 2147483647 w 201"/>
                    <a:gd name="T27" fmla="*/ 2147483647 h 296"/>
                    <a:gd name="T28" fmla="*/ 2147483647 w 201"/>
                    <a:gd name="T29" fmla="*/ 2147483647 h 296"/>
                    <a:gd name="T30" fmla="*/ 2147483647 w 201"/>
                    <a:gd name="T31" fmla="*/ 2147483647 h 296"/>
                    <a:gd name="T32" fmla="*/ 2147483647 w 201"/>
                    <a:gd name="T33" fmla="*/ 2147483647 h 296"/>
                    <a:gd name="T34" fmla="*/ 2147483647 w 201"/>
                    <a:gd name="T35" fmla="*/ 2147483647 h 296"/>
                    <a:gd name="T36" fmla="*/ 2147483647 w 201"/>
                    <a:gd name="T37" fmla="*/ 2147483647 h 296"/>
                    <a:gd name="T38" fmla="*/ 2147483647 w 201"/>
                    <a:gd name="T39" fmla="*/ 2147483647 h 296"/>
                    <a:gd name="T40" fmla="*/ 2147483647 w 201"/>
                    <a:gd name="T41" fmla="*/ 2147483647 h 296"/>
                    <a:gd name="T42" fmla="*/ 2147483647 w 201"/>
                    <a:gd name="T43" fmla="*/ 2147483647 h 296"/>
                    <a:gd name="T44" fmla="*/ 2147483647 w 201"/>
                    <a:gd name="T45" fmla="*/ 2147483647 h 296"/>
                    <a:gd name="T46" fmla="*/ 2147483647 w 201"/>
                    <a:gd name="T47" fmla="*/ 2147483647 h 296"/>
                    <a:gd name="T48" fmla="*/ 2147483647 w 201"/>
                    <a:gd name="T49" fmla="*/ 2147483647 h 296"/>
                    <a:gd name="T50" fmla="*/ 2147483647 w 201"/>
                    <a:gd name="T51" fmla="*/ 2147483647 h 296"/>
                    <a:gd name="T52" fmla="*/ 2147483647 w 201"/>
                    <a:gd name="T53" fmla="*/ 2147483647 h 296"/>
                    <a:gd name="T54" fmla="*/ 2147483647 w 201"/>
                    <a:gd name="T55" fmla="*/ 0 h 296"/>
                    <a:gd name="T56" fmla="*/ 2147483647 w 201"/>
                    <a:gd name="T57" fmla="*/ 0 h 296"/>
                    <a:gd name="T58" fmla="*/ 2147483647 w 201"/>
                    <a:gd name="T59" fmla="*/ 2147483647 h 29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1"/>
                    <a:gd name="T91" fmla="*/ 0 h 296"/>
                    <a:gd name="T92" fmla="*/ 201 w 201"/>
                    <a:gd name="T93" fmla="*/ 296 h 29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1" h="296">
                      <a:moveTo>
                        <a:pt x="87" y="18"/>
                      </a:moveTo>
                      <a:lnTo>
                        <a:pt x="70" y="18"/>
                      </a:lnTo>
                      <a:lnTo>
                        <a:pt x="61" y="52"/>
                      </a:lnTo>
                      <a:lnTo>
                        <a:pt x="35" y="70"/>
                      </a:lnTo>
                      <a:lnTo>
                        <a:pt x="26" y="96"/>
                      </a:lnTo>
                      <a:lnTo>
                        <a:pt x="35" y="113"/>
                      </a:lnTo>
                      <a:lnTo>
                        <a:pt x="26" y="157"/>
                      </a:lnTo>
                      <a:lnTo>
                        <a:pt x="9" y="174"/>
                      </a:lnTo>
                      <a:lnTo>
                        <a:pt x="0" y="192"/>
                      </a:lnTo>
                      <a:lnTo>
                        <a:pt x="44" y="218"/>
                      </a:lnTo>
                      <a:lnTo>
                        <a:pt x="70" y="218"/>
                      </a:lnTo>
                      <a:lnTo>
                        <a:pt x="113" y="262"/>
                      </a:lnTo>
                      <a:lnTo>
                        <a:pt x="148" y="262"/>
                      </a:lnTo>
                      <a:lnTo>
                        <a:pt x="148" y="288"/>
                      </a:lnTo>
                      <a:lnTo>
                        <a:pt x="157" y="296"/>
                      </a:lnTo>
                      <a:lnTo>
                        <a:pt x="166" y="235"/>
                      </a:lnTo>
                      <a:lnTo>
                        <a:pt x="148" y="218"/>
                      </a:lnTo>
                      <a:lnTo>
                        <a:pt x="174" y="209"/>
                      </a:lnTo>
                      <a:lnTo>
                        <a:pt x="166" y="192"/>
                      </a:lnTo>
                      <a:lnTo>
                        <a:pt x="201" y="183"/>
                      </a:lnTo>
                      <a:lnTo>
                        <a:pt x="201" y="157"/>
                      </a:lnTo>
                      <a:lnTo>
                        <a:pt x="201" y="122"/>
                      </a:lnTo>
                      <a:lnTo>
                        <a:pt x="201" y="105"/>
                      </a:lnTo>
                      <a:lnTo>
                        <a:pt x="166" y="113"/>
                      </a:lnTo>
                      <a:lnTo>
                        <a:pt x="157" y="96"/>
                      </a:lnTo>
                      <a:lnTo>
                        <a:pt x="113" y="70"/>
                      </a:lnTo>
                      <a:lnTo>
                        <a:pt x="113" y="35"/>
                      </a:lnTo>
                      <a:lnTo>
                        <a:pt x="140" y="0"/>
                      </a:lnTo>
                      <a:lnTo>
                        <a:pt x="131" y="0"/>
                      </a:lnTo>
                      <a:lnTo>
                        <a:pt x="87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6" name="Freeform 118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7" name="Freeform 119"/>
                <p:cNvSpPr>
                  <a:spLocks/>
                </p:cNvSpPr>
                <p:nvPr/>
              </p:nvSpPr>
              <p:spPr bwMode="auto">
                <a:xfrm>
                  <a:off x="2174876" y="3870326"/>
                  <a:ext cx="166688" cy="179388"/>
                </a:xfrm>
                <a:custGeom>
                  <a:avLst/>
                  <a:gdLst>
                    <a:gd name="T0" fmla="*/ 2147483647 w 105"/>
                    <a:gd name="T1" fmla="*/ 2147483647 h 113"/>
                    <a:gd name="T2" fmla="*/ 2147483647 w 105"/>
                    <a:gd name="T3" fmla="*/ 2147483647 h 113"/>
                    <a:gd name="T4" fmla="*/ 2147483647 w 105"/>
                    <a:gd name="T5" fmla="*/ 2147483647 h 113"/>
                    <a:gd name="T6" fmla="*/ 2147483647 w 105"/>
                    <a:gd name="T7" fmla="*/ 2147483647 h 113"/>
                    <a:gd name="T8" fmla="*/ 2147483647 w 105"/>
                    <a:gd name="T9" fmla="*/ 2147483647 h 113"/>
                    <a:gd name="T10" fmla="*/ 2147483647 w 105"/>
                    <a:gd name="T11" fmla="*/ 2147483647 h 113"/>
                    <a:gd name="T12" fmla="*/ 2147483647 w 105"/>
                    <a:gd name="T13" fmla="*/ 0 h 113"/>
                    <a:gd name="T14" fmla="*/ 0 w 105"/>
                    <a:gd name="T15" fmla="*/ 2147483647 h 113"/>
                    <a:gd name="T16" fmla="*/ 0 w 105"/>
                    <a:gd name="T17" fmla="*/ 2147483647 h 113"/>
                    <a:gd name="T18" fmla="*/ 2147483647 w 105"/>
                    <a:gd name="T19" fmla="*/ 2147483647 h 113"/>
                    <a:gd name="T20" fmla="*/ 2147483647 w 105"/>
                    <a:gd name="T21" fmla="*/ 2147483647 h 113"/>
                    <a:gd name="T22" fmla="*/ 2147483647 w 105"/>
                    <a:gd name="T23" fmla="*/ 2147483647 h 11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5"/>
                    <a:gd name="T37" fmla="*/ 0 h 113"/>
                    <a:gd name="T38" fmla="*/ 105 w 105"/>
                    <a:gd name="T39" fmla="*/ 113 h 11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5" h="113">
                      <a:moveTo>
                        <a:pt x="18" y="104"/>
                      </a:moveTo>
                      <a:lnTo>
                        <a:pt x="44" y="113"/>
                      </a:lnTo>
                      <a:lnTo>
                        <a:pt x="52" y="87"/>
                      </a:lnTo>
                      <a:lnTo>
                        <a:pt x="105" y="52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35" y="0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18" y="10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8" name="Freeform 120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9" name="Freeform 121"/>
                <p:cNvSpPr>
                  <a:spLocks/>
                </p:cNvSpPr>
                <p:nvPr/>
              </p:nvSpPr>
              <p:spPr bwMode="auto">
                <a:xfrm>
                  <a:off x="2174876" y="3911601"/>
                  <a:ext cx="360363" cy="539750"/>
                </a:xfrm>
                <a:custGeom>
                  <a:avLst/>
                  <a:gdLst>
                    <a:gd name="T0" fmla="*/ 2147483647 w 227"/>
                    <a:gd name="T1" fmla="*/ 2147483647 h 340"/>
                    <a:gd name="T2" fmla="*/ 2147483647 w 227"/>
                    <a:gd name="T3" fmla="*/ 2147483647 h 340"/>
                    <a:gd name="T4" fmla="*/ 2147483647 w 227"/>
                    <a:gd name="T5" fmla="*/ 0 h 340"/>
                    <a:gd name="T6" fmla="*/ 2147483647 w 227"/>
                    <a:gd name="T7" fmla="*/ 2147483647 h 340"/>
                    <a:gd name="T8" fmla="*/ 2147483647 w 227"/>
                    <a:gd name="T9" fmla="*/ 2147483647 h 340"/>
                    <a:gd name="T10" fmla="*/ 2147483647 w 227"/>
                    <a:gd name="T11" fmla="*/ 2147483647 h 340"/>
                    <a:gd name="T12" fmla="*/ 2147483647 w 227"/>
                    <a:gd name="T13" fmla="*/ 2147483647 h 340"/>
                    <a:gd name="T14" fmla="*/ 2147483647 w 227"/>
                    <a:gd name="T15" fmla="*/ 2147483647 h 340"/>
                    <a:gd name="T16" fmla="*/ 0 w 227"/>
                    <a:gd name="T17" fmla="*/ 2147483647 h 340"/>
                    <a:gd name="T18" fmla="*/ 0 w 227"/>
                    <a:gd name="T19" fmla="*/ 2147483647 h 340"/>
                    <a:gd name="T20" fmla="*/ 2147483647 w 227"/>
                    <a:gd name="T21" fmla="*/ 2147483647 h 340"/>
                    <a:gd name="T22" fmla="*/ 2147483647 w 227"/>
                    <a:gd name="T23" fmla="*/ 2147483647 h 340"/>
                    <a:gd name="T24" fmla="*/ 2147483647 w 227"/>
                    <a:gd name="T25" fmla="*/ 2147483647 h 340"/>
                    <a:gd name="T26" fmla="*/ 2147483647 w 227"/>
                    <a:gd name="T27" fmla="*/ 2147483647 h 340"/>
                    <a:gd name="T28" fmla="*/ 2147483647 w 227"/>
                    <a:gd name="T29" fmla="*/ 2147483647 h 340"/>
                    <a:gd name="T30" fmla="*/ 2147483647 w 227"/>
                    <a:gd name="T31" fmla="*/ 2147483647 h 340"/>
                    <a:gd name="T32" fmla="*/ 2147483647 w 227"/>
                    <a:gd name="T33" fmla="*/ 2147483647 h 340"/>
                    <a:gd name="T34" fmla="*/ 2147483647 w 227"/>
                    <a:gd name="T35" fmla="*/ 2147483647 h 340"/>
                    <a:gd name="T36" fmla="*/ 2147483647 w 227"/>
                    <a:gd name="T37" fmla="*/ 2147483647 h 340"/>
                    <a:gd name="T38" fmla="*/ 2147483647 w 227"/>
                    <a:gd name="T39" fmla="*/ 2147483647 h 340"/>
                    <a:gd name="T40" fmla="*/ 2147483647 w 227"/>
                    <a:gd name="T41" fmla="*/ 2147483647 h 340"/>
                    <a:gd name="T42" fmla="*/ 2147483647 w 227"/>
                    <a:gd name="T43" fmla="*/ 2147483647 h 340"/>
                    <a:gd name="T44" fmla="*/ 2147483647 w 227"/>
                    <a:gd name="T45" fmla="*/ 2147483647 h 340"/>
                    <a:gd name="T46" fmla="*/ 2147483647 w 227"/>
                    <a:gd name="T47" fmla="*/ 2147483647 h 340"/>
                    <a:gd name="T48" fmla="*/ 2147483647 w 227"/>
                    <a:gd name="T49" fmla="*/ 2147483647 h 340"/>
                    <a:gd name="T50" fmla="*/ 2147483647 w 227"/>
                    <a:gd name="T51" fmla="*/ 2147483647 h 340"/>
                    <a:gd name="T52" fmla="*/ 2147483647 w 227"/>
                    <a:gd name="T53" fmla="*/ 2147483647 h 340"/>
                    <a:gd name="T54" fmla="*/ 2147483647 w 227"/>
                    <a:gd name="T55" fmla="*/ 2147483647 h 340"/>
                    <a:gd name="T56" fmla="*/ 2147483647 w 227"/>
                    <a:gd name="T57" fmla="*/ 2147483647 h 3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340"/>
                    <a:gd name="T89" fmla="*/ 227 w 227"/>
                    <a:gd name="T90" fmla="*/ 340 h 3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340">
                      <a:moveTo>
                        <a:pt x="183" y="44"/>
                      </a:moveTo>
                      <a:lnTo>
                        <a:pt x="148" y="44"/>
                      </a:lnTo>
                      <a:lnTo>
                        <a:pt x="105" y="0"/>
                      </a:lnTo>
                      <a:lnTo>
                        <a:pt x="105" y="26"/>
                      </a:lnTo>
                      <a:lnTo>
                        <a:pt x="52" y="61"/>
                      </a:lnTo>
                      <a:lnTo>
                        <a:pt x="44" y="87"/>
                      </a:lnTo>
                      <a:lnTo>
                        <a:pt x="18" y="78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0" y="113"/>
                      </a:lnTo>
                      <a:lnTo>
                        <a:pt x="26" y="122"/>
                      </a:lnTo>
                      <a:lnTo>
                        <a:pt x="70" y="218"/>
                      </a:lnTo>
                      <a:lnTo>
                        <a:pt x="87" y="235"/>
                      </a:lnTo>
                      <a:lnTo>
                        <a:pt x="87" y="261"/>
                      </a:lnTo>
                      <a:lnTo>
                        <a:pt x="175" y="314"/>
                      </a:lnTo>
                      <a:lnTo>
                        <a:pt x="192" y="340"/>
                      </a:lnTo>
                      <a:lnTo>
                        <a:pt x="218" y="331"/>
                      </a:lnTo>
                      <a:lnTo>
                        <a:pt x="227" y="305"/>
                      </a:lnTo>
                      <a:lnTo>
                        <a:pt x="218" y="288"/>
                      </a:lnTo>
                      <a:lnTo>
                        <a:pt x="218" y="261"/>
                      </a:lnTo>
                      <a:lnTo>
                        <a:pt x="218" y="235"/>
                      </a:lnTo>
                      <a:lnTo>
                        <a:pt x="218" y="209"/>
                      </a:lnTo>
                      <a:lnTo>
                        <a:pt x="192" y="209"/>
                      </a:lnTo>
                      <a:lnTo>
                        <a:pt x="183" y="174"/>
                      </a:lnTo>
                      <a:lnTo>
                        <a:pt x="157" y="183"/>
                      </a:lnTo>
                      <a:lnTo>
                        <a:pt x="131" y="131"/>
                      </a:lnTo>
                      <a:lnTo>
                        <a:pt x="157" y="87"/>
                      </a:lnTo>
                      <a:lnTo>
                        <a:pt x="183" y="70"/>
                      </a:lnTo>
                      <a:lnTo>
                        <a:pt x="183" y="44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0" name="Freeform 122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1" name="Freeform 123"/>
                <p:cNvSpPr>
                  <a:spLocks/>
                </p:cNvSpPr>
                <p:nvPr/>
              </p:nvSpPr>
              <p:spPr bwMode="auto">
                <a:xfrm>
                  <a:off x="2520951" y="4187826"/>
                  <a:ext cx="331788" cy="387350"/>
                </a:xfrm>
                <a:custGeom>
                  <a:avLst/>
                  <a:gdLst>
                    <a:gd name="T0" fmla="*/ 0 w 209"/>
                    <a:gd name="T1" fmla="*/ 2147483647 h 244"/>
                    <a:gd name="T2" fmla="*/ 0 w 209"/>
                    <a:gd name="T3" fmla="*/ 2147483647 h 244"/>
                    <a:gd name="T4" fmla="*/ 0 w 209"/>
                    <a:gd name="T5" fmla="*/ 2147483647 h 244"/>
                    <a:gd name="T6" fmla="*/ 2147483647 w 209"/>
                    <a:gd name="T7" fmla="*/ 2147483647 h 244"/>
                    <a:gd name="T8" fmla="*/ 0 w 209"/>
                    <a:gd name="T9" fmla="*/ 2147483647 h 244"/>
                    <a:gd name="T10" fmla="*/ 2147483647 w 209"/>
                    <a:gd name="T11" fmla="*/ 2147483647 h 244"/>
                    <a:gd name="T12" fmla="*/ 2147483647 w 209"/>
                    <a:gd name="T13" fmla="*/ 2147483647 h 244"/>
                    <a:gd name="T14" fmla="*/ 2147483647 w 209"/>
                    <a:gd name="T15" fmla="*/ 2147483647 h 244"/>
                    <a:gd name="T16" fmla="*/ 2147483647 w 209"/>
                    <a:gd name="T17" fmla="*/ 2147483647 h 244"/>
                    <a:gd name="T18" fmla="*/ 2147483647 w 209"/>
                    <a:gd name="T19" fmla="*/ 2147483647 h 244"/>
                    <a:gd name="T20" fmla="*/ 2147483647 w 209"/>
                    <a:gd name="T21" fmla="*/ 2147483647 h 244"/>
                    <a:gd name="T22" fmla="*/ 2147483647 w 209"/>
                    <a:gd name="T23" fmla="*/ 2147483647 h 244"/>
                    <a:gd name="T24" fmla="*/ 2147483647 w 209"/>
                    <a:gd name="T25" fmla="*/ 2147483647 h 244"/>
                    <a:gd name="T26" fmla="*/ 2147483647 w 209"/>
                    <a:gd name="T27" fmla="*/ 2147483647 h 244"/>
                    <a:gd name="T28" fmla="*/ 2147483647 w 209"/>
                    <a:gd name="T29" fmla="*/ 2147483647 h 244"/>
                    <a:gd name="T30" fmla="*/ 2147483647 w 209"/>
                    <a:gd name="T31" fmla="*/ 2147483647 h 244"/>
                    <a:gd name="T32" fmla="*/ 2147483647 w 209"/>
                    <a:gd name="T33" fmla="*/ 2147483647 h 244"/>
                    <a:gd name="T34" fmla="*/ 2147483647 w 209"/>
                    <a:gd name="T35" fmla="*/ 2147483647 h 244"/>
                    <a:gd name="T36" fmla="*/ 2147483647 w 209"/>
                    <a:gd name="T37" fmla="*/ 0 h 244"/>
                    <a:gd name="T38" fmla="*/ 0 w 209"/>
                    <a:gd name="T39" fmla="*/ 2147483647 h 244"/>
                    <a:gd name="T40" fmla="*/ 0 w 209"/>
                    <a:gd name="T41" fmla="*/ 2147483647 h 2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9"/>
                    <a:gd name="T64" fmla="*/ 0 h 244"/>
                    <a:gd name="T65" fmla="*/ 209 w 209"/>
                    <a:gd name="T66" fmla="*/ 244 h 2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9" h="244">
                      <a:moveTo>
                        <a:pt x="0" y="61"/>
                      </a:moveTo>
                      <a:lnTo>
                        <a:pt x="0" y="87"/>
                      </a:lnTo>
                      <a:lnTo>
                        <a:pt x="0" y="114"/>
                      </a:lnTo>
                      <a:lnTo>
                        <a:pt x="9" y="131"/>
                      </a:lnTo>
                      <a:lnTo>
                        <a:pt x="0" y="157"/>
                      </a:lnTo>
                      <a:lnTo>
                        <a:pt x="44" y="244"/>
                      </a:lnTo>
                      <a:lnTo>
                        <a:pt x="87" y="236"/>
                      </a:lnTo>
                      <a:lnTo>
                        <a:pt x="96" y="244"/>
                      </a:lnTo>
                      <a:lnTo>
                        <a:pt x="105" y="227"/>
                      </a:lnTo>
                      <a:lnTo>
                        <a:pt x="122" y="227"/>
                      </a:lnTo>
                      <a:lnTo>
                        <a:pt x="131" y="192"/>
                      </a:lnTo>
                      <a:lnTo>
                        <a:pt x="166" y="183"/>
                      </a:lnTo>
                      <a:lnTo>
                        <a:pt x="192" y="183"/>
                      </a:lnTo>
                      <a:lnTo>
                        <a:pt x="209" y="166"/>
                      </a:lnTo>
                      <a:lnTo>
                        <a:pt x="183" y="122"/>
                      </a:lnTo>
                      <a:lnTo>
                        <a:pt x="157" y="114"/>
                      </a:lnTo>
                      <a:lnTo>
                        <a:pt x="140" y="70"/>
                      </a:lnTo>
                      <a:lnTo>
                        <a:pt x="70" y="44"/>
                      </a:lnTo>
                      <a:lnTo>
                        <a:pt x="44" y="0"/>
                      </a:lnTo>
                      <a:lnTo>
                        <a:pt x="0" y="3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2" name="Freeform 124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3" name="Freeform 125"/>
                <p:cNvSpPr>
                  <a:spLocks/>
                </p:cNvSpPr>
                <p:nvPr/>
              </p:nvSpPr>
              <p:spPr bwMode="auto">
                <a:xfrm>
                  <a:off x="2479676" y="4437063"/>
                  <a:ext cx="290513" cy="1009650"/>
                </a:xfrm>
                <a:custGeom>
                  <a:avLst/>
                  <a:gdLst>
                    <a:gd name="T0" fmla="*/ 2147483647 w 183"/>
                    <a:gd name="T1" fmla="*/ 2147483647 h 636"/>
                    <a:gd name="T2" fmla="*/ 2147483647 w 183"/>
                    <a:gd name="T3" fmla="*/ 2147483647 h 636"/>
                    <a:gd name="T4" fmla="*/ 2147483647 w 183"/>
                    <a:gd name="T5" fmla="*/ 2147483647 h 636"/>
                    <a:gd name="T6" fmla="*/ 2147483647 w 183"/>
                    <a:gd name="T7" fmla="*/ 2147483647 h 636"/>
                    <a:gd name="T8" fmla="*/ 2147483647 w 183"/>
                    <a:gd name="T9" fmla="*/ 2147483647 h 636"/>
                    <a:gd name="T10" fmla="*/ 2147483647 w 183"/>
                    <a:gd name="T11" fmla="*/ 2147483647 h 636"/>
                    <a:gd name="T12" fmla="*/ 2147483647 w 183"/>
                    <a:gd name="T13" fmla="*/ 2147483647 h 636"/>
                    <a:gd name="T14" fmla="*/ 2147483647 w 183"/>
                    <a:gd name="T15" fmla="*/ 2147483647 h 636"/>
                    <a:gd name="T16" fmla="*/ 2147483647 w 183"/>
                    <a:gd name="T17" fmla="*/ 2147483647 h 636"/>
                    <a:gd name="T18" fmla="*/ 2147483647 w 183"/>
                    <a:gd name="T19" fmla="*/ 2147483647 h 636"/>
                    <a:gd name="T20" fmla="*/ 2147483647 w 183"/>
                    <a:gd name="T21" fmla="*/ 2147483647 h 636"/>
                    <a:gd name="T22" fmla="*/ 2147483647 w 183"/>
                    <a:gd name="T23" fmla="*/ 2147483647 h 636"/>
                    <a:gd name="T24" fmla="*/ 2147483647 w 183"/>
                    <a:gd name="T25" fmla="*/ 2147483647 h 636"/>
                    <a:gd name="T26" fmla="*/ 2147483647 w 183"/>
                    <a:gd name="T27" fmla="*/ 2147483647 h 636"/>
                    <a:gd name="T28" fmla="*/ 2147483647 w 183"/>
                    <a:gd name="T29" fmla="*/ 2147483647 h 636"/>
                    <a:gd name="T30" fmla="*/ 2147483647 w 183"/>
                    <a:gd name="T31" fmla="*/ 2147483647 h 636"/>
                    <a:gd name="T32" fmla="*/ 2147483647 w 183"/>
                    <a:gd name="T33" fmla="*/ 2147483647 h 636"/>
                    <a:gd name="T34" fmla="*/ 2147483647 w 183"/>
                    <a:gd name="T35" fmla="*/ 2147483647 h 636"/>
                    <a:gd name="T36" fmla="*/ 2147483647 w 183"/>
                    <a:gd name="T37" fmla="*/ 2147483647 h 636"/>
                    <a:gd name="T38" fmla="*/ 2147483647 w 183"/>
                    <a:gd name="T39" fmla="*/ 2147483647 h 636"/>
                    <a:gd name="T40" fmla="*/ 2147483647 w 183"/>
                    <a:gd name="T41" fmla="*/ 2147483647 h 636"/>
                    <a:gd name="T42" fmla="*/ 2147483647 w 183"/>
                    <a:gd name="T43" fmla="*/ 2147483647 h 636"/>
                    <a:gd name="T44" fmla="*/ 2147483647 w 183"/>
                    <a:gd name="T45" fmla="*/ 2147483647 h 636"/>
                    <a:gd name="T46" fmla="*/ 2147483647 w 183"/>
                    <a:gd name="T47" fmla="*/ 2147483647 h 636"/>
                    <a:gd name="T48" fmla="*/ 2147483647 w 183"/>
                    <a:gd name="T49" fmla="*/ 2147483647 h 636"/>
                    <a:gd name="T50" fmla="*/ 2147483647 w 183"/>
                    <a:gd name="T51" fmla="*/ 2147483647 h 636"/>
                    <a:gd name="T52" fmla="*/ 2147483647 w 183"/>
                    <a:gd name="T53" fmla="*/ 2147483647 h 636"/>
                    <a:gd name="T54" fmla="*/ 2147483647 w 183"/>
                    <a:gd name="T55" fmla="*/ 2147483647 h 636"/>
                    <a:gd name="T56" fmla="*/ 2147483647 w 183"/>
                    <a:gd name="T57" fmla="*/ 2147483647 h 636"/>
                    <a:gd name="T58" fmla="*/ 2147483647 w 183"/>
                    <a:gd name="T59" fmla="*/ 2147483647 h 636"/>
                    <a:gd name="T60" fmla="*/ 2147483647 w 183"/>
                    <a:gd name="T61" fmla="*/ 2147483647 h 636"/>
                    <a:gd name="T62" fmla="*/ 2147483647 w 183"/>
                    <a:gd name="T63" fmla="*/ 2147483647 h 636"/>
                    <a:gd name="T64" fmla="*/ 2147483647 w 183"/>
                    <a:gd name="T65" fmla="*/ 2147483647 h 636"/>
                    <a:gd name="T66" fmla="*/ 2147483647 w 183"/>
                    <a:gd name="T67" fmla="*/ 2147483647 h 636"/>
                    <a:gd name="T68" fmla="*/ 2147483647 w 183"/>
                    <a:gd name="T69" fmla="*/ 2147483647 h 636"/>
                    <a:gd name="T70" fmla="*/ 2147483647 w 183"/>
                    <a:gd name="T71" fmla="*/ 2147483647 h 636"/>
                    <a:gd name="T72" fmla="*/ 2147483647 w 183"/>
                    <a:gd name="T73" fmla="*/ 2147483647 h 636"/>
                    <a:gd name="T74" fmla="*/ 2147483647 w 183"/>
                    <a:gd name="T75" fmla="*/ 2147483647 h 636"/>
                    <a:gd name="T76" fmla="*/ 2147483647 w 183"/>
                    <a:gd name="T77" fmla="*/ 2147483647 h 636"/>
                    <a:gd name="T78" fmla="*/ 2147483647 w 183"/>
                    <a:gd name="T79" fmla="*/ 2147483647 h 636"/>
                    <a:gd name="T80" fmla="*/ 2147483647 w 183"/>
                    <a:gd name="T81" fmla="*/ 2147483647 h 636"/>
                    <a:gd name="T82" fmla="*/ 2147483647 w 183"/>
                    <a:gd name="T83" fmla="*/ 0 h 636"/>
                    <a:gd name="T84" fmla="*/ 0 w 183"/>
                    <a:gd name="T85" fmla="*/ 2147483647 h 636"/>
                    <a:gd name="T86" fmla="*/ 2147483647 w 183"/>
                    <a:gd name="T87" fmla="*/ 2147483647 h 6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636"/>
                    <a:gd name="T134" fmla="*/ 183 w 183"/>
                    <a:gd name="T135" fmla="*/ 636 h 6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636">
                      <a:moveTo>
                        <a:pt x="17" y="79"/>
                      </a:moveTo>
                      <a:lnTo>
                        <a:pt x="9" y="96"/>
                      </a:lnTo>
                      <a:lnTo>
                        <a:pt x="17" y="192"/>
                      </a:lnTo>
                      <a:lnTo>
                        <a:pt x="17" y="201"/>
                      </a:lnTo>
                      <a:lnTo>
                        <a:pt x="26" y="227"/>
                      </a:lnTo>
                      <a:lnTo>
                        <a:pt x="26" y="253"/>
                      </a:lnTo>
                      <a:lnTo>
                        <a:pt x="35" y="270"/>
                      </a:lnTo>
                      <a:lnTo>
                        <a:pt x="26" y="340"/>
                      </a:lnTo>
                      <a:lnTo>
                        <a:pt x="17" y="349"/>
                      </a:lnTo>
                      <a:lnTo>
                        <a:pt x="44" y="401"/>
                      </a:lnTo>
                      <a:lnTo>
                        <a:pt x="35" y="419"/>
                      </a:lnTo>
                      <a:lnTo>
                        <a:pt x="52" y="436"/>
                      </a:lnTo>
                      <a:lnTo>
                        <a:pt x="70" y="471"/>
                      </a:lnTo>
                      <a:lnTo>
                        <a:pt x="70" y="506"/>
                      </a:lnTo>
                      <a:lnTo>
                        <a:pt x="52" y="514"/>
                      </a:lnTo>
                      <a:lnTo>
                        <a:pt x="87" y="532"/>
                      </a:lnTo>
                      <a:lnTo>
                        <a:pt x="70" y="549"/>
                      </a:lnTo>
                      <a:lnTo>
                        <a:pt x="78" y="567"/>
                      </a:lnTo>
                      <a:lnTo>
                        <a:pt x="87" y="584"/>
                      </a:lnTo>
                      <a:lnTo>
                        <a:pt x="96" y="602"/>
                      </a:lnTo>
                      <a:lnTo>
                        <a:pt x="96" y="619"/>
                      </a:lnTo>
                      <a:lnTo>
                        <a:pt x="113" y="619"/>
                      </a:lnTo>
                      <a:lnTo>
                        <a:pt x="113" y="636"/>
                      </a:lnTo>
                      <a:lnTo>
                        <a:pt x="140" y="628"/>
                      </a:lnTo>
                      <a:lnTo>
                        <a:pt x="157" y="636"/>
                      </a:lnTo>
                      <a:lnTo>
                        <a:pt x="183" y="619"/>
                      </a:lnTo>
                      <a:lnTo>
                        <a:pt x="122" y="602"/>
                      </a:lnTo>
                      <a:lnTo>
                        <a:pt x="105" y="575"/>
                      </a:lnTo>
                      <a:lnTo>
                        <a:pt x="113" y="532"/>
                      </a:lnTo>
                      <a:lnTo>
                        <a:pt x="96" y="488"/>
                      </a:lnTo>
                      <a:lnTo>
                        <a:pt x="70" y="427"/>
                      </a:lnTo>
                      <a:lnTo>
                        <a:pt x="70" y="366"/>
                      </a:lnTo>
                      <a:lnTo>
                        <a:pt x="52" y="340"/>
                      </a:lnTo>
                      <a:lnTo>
                        <a:pt x="70" y="323"/>
                      </a:lnTo>
                      <a:lnTo>
                        <a:pt x="61" y="314"/>
                      </a:lnTo>
                      <a:lnTo>
                        <a:pt x="70" y="288"/>
                      </a:lnTo>
                      <a:lnTo>
                        <a:pt x="44" y="253"/>
                      </a:lnTo>
                      <a:lnTo>
                        <a:pt x="52" y="201"/>
                      </a:lnTo>
                      <a:lnTo>
                        <a:pt x="70" y="157"/>
                      </a:lnTo>
                      <a:lnTo>
                        <a:pt x="52" y="131"/>
                      </a:lnTo>
                      <a:lnTo>
                        <a:pt x="70" y="87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17" y="7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4" name="Freeform 126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5" name="Freeform 127"/>
                <p:cNvSpPr>
                  <a:spLocks/>
                </p:cNvSpPr>
                <p:nvPr/>
              </p:nvSpPr>
              <p:spPr bwMode="auto">
                <a:xfrm>
                  <a:off x="2535239" y="5129213"/>
                  <a:ext cx="26988" cy="41275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2147483647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"/>
                    <a:gd name="T17" fmla="*/ 17 w 1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1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6" name="Freeform 128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7" name="Freeform 129"/>
                <p:cNvSpPr>
                  <a:spLocks/>
                </p:cNvSpPr>
                <p:nvPr/>
              </p:nvSpPr>
              <p:spPr bwMode="auto">
                <a:xfrm>
                  <a:off x="2701926" y="5419726"/>
                  <a:ext cx="123825" cy="82550"/>
                </a:xfrm>
                <a:custGeom>
                  <a:avLst/>
                  <a:gdLst>
                    <a:gd name="T0" fmla="*/ 2147483647 w 78"/>
                    <a:gd name="T1" fmla="*/ 2147483647 h 52"/>
                    <a:gd name="T2" fmla="*/ 0 w 78"/>
                    <a:gd name="T3" fmla="*/ 2147483647 h 52"/>
                    <a:gd name="T4" fmla="*/ 2147483647 w 78"/>
                    <a:gd name="T5" fmla="*/ 2147483647 h 52"/>
                    <a:gd name="T6" fmla="*/ 2147483647 w 78"/>
                    <a:gd name="T7" fmla="*/ 2147483647 h 52"/>
                    <a:gd name="T8" fmla="*/ 2147483647 w 78"/>
                    <a:gd name="T9" fmla="*/ 2147483647 h 52"/>
                    <a:gd name="T10" fmla="*/ 2147483647 w 78"/>
                    <a:gd name="T11" fmla="*/ 2147483647 h 52"/>
                    <a:gd name="T12" fmla="*/ 2147483647 w 78"/>
                    <a:gd name="T13" fmla="*/ 0 h 52"/>
                    <a:gd name="T14" fmla="*/ 2147483647 w 78"/>
                    <a:gd name="T15" fmla="*/ 2147483647 h 52"/>
                    <a:gd name="T16" fmla="*/ 2147483647 w 78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8"/>
                    <a:gd name="T28" fmla="*/ 0 h 52"/>
                    <a:gd name="T29" fmla="*/ 78 w 78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8" h="52">
                      <a:moveTo>
                        <a:pt x="26" y="26"/>
                      </a:moveTo>
                      <a:lnTo>
                        <a:pt x="0" y="35"/>
                      </a:lnTo>
                      <a:lnTo>
                        <a:pt x="34" y="44"/>
                      </a:lnTo>
                      <a:lnTo>
                        <a:pt x="52" y="52"/>
                      </a:lnTo>
                      <a:lnTo>
                        <a:pt x="78" y="52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3" y="17"/>
                      </a:lnTo>
                      <a:lnTo>
                        <a:pt x="26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8" name="Freeform 130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19" name="Freeform 131"/>
                <p:cNvSpPr>
                  <a:spLocks/>
                </p:cNvSpPr>
                <p:nvPr/>
              </p:nvSpPr>
              <p:spPr bwMode="auto">
                <a:xfrm>
                  <a:off x="2549526" y="4548188"/>
                  <a:ext cx="414338" cy="871538"/>
                </a:xfrm>
                <a:custGeom>
                  <a:avLst/>
                  <a:gdLst>
                    <a:gd name="T0" fmla="*/ 2147483647 w 261"/>
                    <a:gd name="T1" fmla="*/ 2147483647 h 549"/>
                    <a:gd name="T2" fmla="*/ 2147483647 w 261"/>
                    <a:gd name="T3" fmla="*/ 2147483647 h 549"/>
                    <a:gd name="T4" fmla="*/ 2147483647 w 261"/>
                    <a:gd name="T5" fmla="*/ 2147483647 h 549"/>
                    <a:gd name="T6" fmla="*/ 2147483647 w 261"/>
                    <a:gd name="T7" fmla="*/ 2147483647 h 549"/>
                    <a:gd name="T8" fmla="*/ 0 w 261"/>
                    <a:gd name="T9" fmla="*/ 2147483647 h 549"/>
                    <a:gd name="T10" fmla="*/ 2147483647 w 261"/>
                    <a:gd name="T11" fmla="*/ 2147483647 h 549"/>
                    <a:gd name="T12" fmla="*/ 2147483647 w 261"/>
                    <a:gd name="T13" fmla="*/ 2147483647 h 549"/>
                    <a:gd name="T14" fmla="*/ 2147483647 w 261"/>
                    <a:gd name="T15" fmla="*/ 2147483647 h 549"/>
                    <a:gd name="T16" fmla="*/ 2147483647 w 261"/>
                    <a:gd name="T17" fmla="*/ 2147483647 h 549"/>
                    <a:gd name="T18" fmla="*/ 2147483647 w 261"/>
                    <a:gd name="T19" fmla="*/ 2147483647 h 549"/>
                    <a:gd name="T20" fmla="*/ 2147483647 w 261"/>
                    <a:gd name="T21" fmla="*/ 2147483647 h 549"/>
                    <a:gd name="T22" fmla="*/ 2147483647 w 261"/>
                    <a:gd name="T23" fmla="*/ 2147483647 h 549"/>
                    <a:gd name="T24" fmla="*/ 2147483647 w 261"/>
                    <a:gd name="T25" fmla="*/ 2147483647 h 549"/>
                    <a:gd name="T26" fmla="*/ 2147483647 w 261"/>
                    <a:gd name="T27" fmla="*/ 2147483647 h 549"/>
                    <a:gd name="T28" fmla="*/ 2147483647 w 261"/>
                    <a:gd name="T29" fmla="*/ 2147483647 h 549"/>
                    <a:gd name="T30" fmla="*/ 2147483647 w 261"/>
                    <a:gd name="T31" fmla="*/ 2147483647 h 549"/>
                    <a:gd name="T32" fmla="*/ 2147483647 w 261"/>
                    <a:gd name="T33" fmla="*/ 2147483647 h 549"/>
                    <a:gd name="T34" fmla="*/ 2147483647 w 261"/>
                    <a:gd name="T35" fmla="*/ 2147483647 h 549"/>
                    <a:gd name="T36" fmla="*/ 2147483647 w 261"/>
                    <a:gd name="T37" fmla="*/ 2147483647 h 549"/>
                    <a:gd name="T38" fmla="*/ 2147483647 w 261"/>
                    <a:gd name="T39" fmla="*/ 2147483647 h 549"/>
                    <a:gd name="T40" fmla="*/ 2147483647 w 261"/>
                    <a:gd name="T41" fmla="*/ 2147483647 h 549"/>
                    <a:gd name="T42" fmla="*/ 2147483647 w 261"/>
                    <a:gd name="T43" fmla="*/ 2147483647 h 549"/>
                    <a:gd name="T44" fmla="*/ 2147483647 w 261"/>
                    <a:gd name="T45" fmla="*/ 2147483647 h 549"/>
                    <a:gd name="T46" fmla="*/ 2147483647 w 261"/>
                    <a:gd name="T47" fmla="*/ 2147483647 h 549"/>
                    <a:gd name="T48" fmla="*/ 2147483647 w 261"/>
                    <a:gd name="T49" fmla="*/ 2147483647 h 549"/>
                    <a:gd name="T50" fmla="*/ 2147483647 w 261"/>
                    <a:gd name="T51" fmla="*/ 2147483647 h 549"/>
                    <a:gd name="T52" fmla="*/ 2147483647 w 261"/>
                    <a:gd name="T53" fmla="*/ 2147483647 h 549"/>
                    <a:gd name="T54" fmla="*/ 2147483647 w 261"/>
                    <a:gd name="T55" fmla="*/ 2147483647 h 549"/>
                    <a:gd name="T56" fmla="*/ 2147483647 w 261"/>
                    <a:gd name="T57" fmla="*/ 2147483647 h 549"/>
                    <a:gd name="T58" fmla="*/ 2147483647 w 261"/>
                    <a:gd name="T59" fmla="*/ 2147483647 h 549"/>
                    <a:gd name="T60" fmla="*/ 2147483647 w 261"/>
                    <a:gd name="T61" fmla="*/ 2147483647 h 549"/>
                    <a:gd name="T62" fmla="*/ 2147483647 w 261"/>
                    <a:gd name="T63" fmla="*/ 2147483647 h 549"/>
                    <a:gd name="T64" fmla="*/ 2147483647 w 261"/>
                    <a:gd name="T65" fmla="*/ 2147483647 h 549"/>
                    <a:gd name="T66" fmla="*/ 2147483647 w 261"/>
                    <a:gd name="T67" fmla="*/ 2147483647 h 549"/>
                    <a:gd name="T68" fmla="*/ 2147483647 w 261"/>
                    <a:gd name="T69" fmla="*/ 2147483647 h 549"/>
                    <a:gd name="T70" fmla="*/ 2147483647 w 261"/>
                    <a:gd name="T71" fmla="*/ 2147483647 h 549"/>
                    <a:gd name="T72" fmla="*/ 2147483647 w 261"/>
                    <a:gd name="T73" fmla="*/ 2147483647 h 549"/>
                    <a:gd name="T74" fmla="*/ 2147483647 w 261"/>
                    <a:gd name="T75" fmla="*/ 2147483647 h 549"/>
                    <a:gd name="T76" fmla="*/ 2147483647 w 261"/>
                    <a:gd name="T77" fmla="*/ 2147483647 h 549"/>
                    <a:gd name="T78" fmla="*/ 2147483647 w 261"/>
                    <a:gd name="T79" fmla="*/ 2147483647 h 549"/>
                    <a:gd name="T80" fmla="*/ 2147483647 w 261"/>
                    <a:gd name="T81" fmla="*/ 2147483647 h 549"/>
                    <a:gd name="T82" fmla="*/ 2147483647 w 261"/>
                    <a:gd name="T83" fmla="*/ 2147483647 h 549"/>
                    <a:gd name="T84" fmla="*/ 2147483647 w 261"/>
                    <a:gd name="T85" fmla="*/ 2147483647 h 549"/>
                    <a:gd name="T86" fmla="*/ 2147483647 w 261"/>
                    <a:gd name="T87" fmla="*/ 2147483647 h 549"/>
                    <a:gd name="T88" fmla="*/ 2147483647 w 261"/>
                    <a:gd name="T89" fmla="*/ 2147483647 h 549"/>
                    <a:gd name="T90" fmla="*/ 2147483647 w 261"/>
                    <a:gd name="T91" fmla="*/ 2147483647 h 549"/>
                    <a:gd name="T92" fmla="*/ 2147483647 w 261"/>
                    <a:gd name="T93" fmla="*/ 2147483647 h 549"/>
                    <a:gd name="T94" fmla="*/ 2147483647 w 261"/>
                    <a:gd name="T95" fmla="*/ 2147483647 h 549"/>
                    <a:gd name="T96" fmla="*/ 2147483647 w 261"/>
                    <a:gd name="T97" fmla="*/ 2147483647 h 549"/>
                    <a:gd name="T98" fmla="*/ 2147483647 w 261"/>
                    <a:gd name="T99" fmla="*/ 2147483647 h 549"/>
                    <a:gd name="T100" fmla="*/ 2147483647 w 261"/>
                    <a:gd name="T101" fmla="*/ 2147483647 h 549"/>
                    <a:gd name="T102" fmla="*/ 2147483647 w 261"/>
                    <a:gd name="T103" fmla="*/ 2147483647 h 549"/>
                    <a:gd name="T104" fmla="*/ 2147483647 w 261"/>
                    <a:gd name="T105" fmla="*/ 2147483647 h 549"/>
                    <a:gd name="T106" fmla="*/ 2147483647 w 261"/>
                    <a:gd name="T107" fmla="*/ 2147483647 h 549"/>
                    <a:gd name="T108" fmla="*/ 2147483647 w 261"/>
                    <a:gd name="T109" fmla="*/ 2147483647 h 549"/>
                    <a:gd name="T110" fmla="*/ 2147483647 w 261"/>
                    <a:gd name="T111" fmla="*/ 0 h 549"/>
                    <a:gd name="T112" fmla="*/ 2147483647 w 261"/>
                    <a:gd name="T113" fmla="*/ 0 h 549"/>
                    <a:gd name="T114" fmla="*/ 2147483647 w 261"/>
                    <a:gd name="T115" fmla="*/ 2147483647 h 549"/>
                    <a:gd name="T116" fmla="*/ 2147483647 w 261"/>
                    <a:gd name="T117" fmla="*/ 2147483647 h 549"/>
                    <a:gd name="T118" fmla="*/ 2147483647 w 261"/>
                    <a:gd name="T119" fmla="*/ 2147483647 h 54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61"/>
                    <a:gd name="T181" fmla="*/ 0 h 549"/>
                    <a:gd name="T182" fmla="*/ 261 w 261"/>
                    <a:gd name="T183" fmla="*/ 549 h 54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61" h="549">
                      <a:moveTo>
                        <a:pt x="26" y="17"/>
                      </a:moveTo>
                      <a:lnTo>
                        <a:pt x="8" y="61"/>
                      </a:lnTo>
                      <a:lnTo>
                        <a:pt x="26" y="87"/>
                      </a:lnTo>
                      <a:lnTo>
                        <a:pt x="8" y="131"/>
                      </a:lnTo>
                      <a:lnTo>
                        <a:pt x="0" y="183"/>
                      </a:lnTo>
                      <a:lnTo>
                        <a:pt x="26" y="218"/>
                      </a:lnTo>
                      <a:lnTo>
                        <a:pt x="17" y="244"/>
                      </a:lnTo>
                      <a:lnTo>
                        <a:pt x="26" y="253"/>
                      </a:lnTo>
                      <a:lnTo>
                        <a:pt x="8" y="270"/>
                      </a:lnTo>
                      <a:lnTo>
                        <a:pt x="26" y="296"/>
                      </a:lnTo>
                      <a:lnTo>
                        <a:pt x="26" y="357"/>
                      </a:lnTo>
                      <a:lnTo>
                        <a:pt x="52" y="418"/>
                      </a:lnTo>
                      <a:lnTo>
                        <a:pt x="69" y="462"/>
                      </a:lnTo>
                      <a:lnTo>
                        <a:pt x="61" y="505"/>
                      </a:lnTo>
                      <a:lnTo>
                        <a:pt x="78" y="532"/>
                      </a:lnTo>
                      <a:lnTo>
                        <a:pt x="139" y="549"/>
                      </a:lnTo>
                      <a:lnTo>
                        <a:pt x="148" y="540"/>
                      </a:lnTo>
                      <a:lnTo>
                        <a:pt x="130" y="540"/>
                      </a:lnTo>
                      <a:lnTo>
                        <a:pt x="130" y="514"/>
                      </a:lnTo>
                      <a:lnTo>
                        <a:pt x="139" y="505"/>
                      </a:lnTo>
                      <a:lnTo>
                        <a:pt x="139" y="488"/>
                      </a:lnTo>
                      <a:lnTo>
                        <a:pt x="157" y="479"/>
                      </a:lnTo>
                      <a:lnTo>
                        <a:pt x="157" y="462"/>
                      </a:lnTo>
                      <a:lnTo>
                        <a:pt x="122" y="444"/>
                      </a:lnTo>
                      <a:lnTo>
                        <a:pt x="122" y="427"/>
                      </a:lnTo>
                      <a:lnTo>
                        <a:pt x="139" y="418"/>
                      </a:lnTo>
                      <a:lnTo>
                        <a:pt x="148" y="392"/>
                      </a:lnTo>
                      <a:lnTo>
                        <a:pt x="139" y="375"/>
                      </a:lnTo>
                      <a:lnTo>
                        <a:pt x="157" y="383"/>
                      </a:lnTo>
                      <a:lnTo>
                        <a:pt x="157" y="366"/>
                      </a:lnTo>
                      <a:lnTo>
                        <a:pt x="148" y="366"/>
                      </a:lnTo>
                      <a:lnTo>
                        <a:pt x="130" y="375"/>
                      </a:lnTo>
                      <a:lnTo>
                        <a:pt x="122" y="349"/>
                      </a:lnTo>
                      <a:lnTo>
                        <a:pt x="165" y="349"/>
                      </a:lnTo>
                      <a:lnTo>
                        <a:pt x="174" y="340"/>
                      </a:lnTo>
                      <a:lnTo>
                        <a:pt x="157" y="322"/>
                      </a:lnTo>
                      <a:lnTo>
                        <a:pt x="174" y="305"/>
                      </a:lnTo>
                      <a:lnTo>
                        <a:pt x="218" y="305"/>
                      </a:lnTo>
                      <a:lnTo>
                        <a:pt x="244" y="279"/>
                      </a:lnTo>
                      <a:lnTo>
                        <a:pt x="235" y="261"/>
                      </a:lnTo>
                      <a:lnTo>
                        <a:pt x="235" y="253"/>
                      </a:lnTo>
                      <a:lnTo>
                        <a:pt x="200" y="227"/>
                      </a:lnTo>
                      <a:lnTo>
                        <a:pt x="209" y="218"/>
                      </a:lnTo>
                      <a:lnTo>
                        <a:pt x="209" y="174"/>
                      </a:lnTo>
                      <a:lnTo>
                        <a:pt x="218" y="148"/>
                      </a:lnTo>
                      <a:lnTo>
                        <a:pt x="218" y="139"/>
                      </a:lnTo>
                      <a:lnTo>
                        <a:pt x="261" y="105"/>
                      </a:lnTo>
                      <a:lnTo>
                        <a:pt x="261" y="70"/>
                      </a:lnTo>
                      <a:lnTo>
                        <a:pt x="244" y="70"/>
                      </a:lnTo>
                      <a:lnTo>
                        <a:pt x="244" y="87"/>
                      </a:lnTo>
                      <a:lnTo>
                        <a:pt x="226" y="105"/>
                      </a:lnTo>
                      <a:lnTo>
                        <a:pt x="191" y="96"/>
                      </a:lnTo>
                      <a:lnTo>
                        <a:pt x="174" y="87"/>
                      </a:lnTo>
                      <a:lnTo>
                        <a:pt x="191" y="61"/>
                      </a:lnTo>
                      <a:lnTo>
                        <a:pt x="130" y="35"/>
                      </a:lnTo>
                      <a:lnTo>
                        <a:pt x="104" y="0"/>
                      </a:lnTo>
                      <a:lnTo>
                        <a:pt x="87" y="0"/>
                      </a:lnTo>
                      <a:lnTo>
                        <a:pt x="78" y="17"/>
                      </a:lnTo>
                      <a:lnTo>
                        <a:pt x="69" y="9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0" name="Freeform 132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1" name="Freeform 133"/>
                <p:cNvSpPr>
                  <a:spLocks/>
                </p:cNvSpPr>
                <p:nvPr/>
              </p:nvSpPr>
              <p:spPr bwMode="auto">
                <a:xfrm>
                  <a:off x="2798764" y="5434013"/>
                  <a:ext cx="96838" cy="68263"/>
                </a:xfrm>
                <a:custGeom>
                  <a:avLst/>
                  <a:gdLst>
                    <a:gd name="T0" fmla="*/ 0 w 61"/>
                    <a:gd name="T1" fmla="*/ 0 h 43"/>
                    <a:gd name="T2" fmla="*/ 2147483647 w 61"/>
                    <a:gd name="T3" fmla="*/ 2147483647 h 43"/>
                    <a:gd name="T4" fmla="*/ 2147483647 w 61"/>
                    <a:gd name="T5" fmla="*/ 2147483647 h 43"/>
                    <a:gd name="T6" fmla="*/ 0 w 61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1"/>
                    <a:gd name="T13" fmla="*/ 0 h 43"/>
                    <a:gd name="T14" fmla="*/ 61 w 61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1" h="43">
                      <a:moveTo>
                        <a:pt x="0" y="0"/>
                      </a:moveTo>
                      <a:lnTo>
                        <a:pt x="17" y="43"/>
                      </a:lnTo>
                      <a:lnTo>
                        <a:pt x="61" y="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2" name="Freeform 134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3" name="Freeform 135"/>
                <p:cNvSpPr>
                  <a:spLocks/>
                </p:cNvSpPr>
                <p:nvPr/>
              </p:nvSpPr>
              <p:spPr bwMode="auto">
                <a:xfrm>
                  <a:off x="2382839" y="3759201"/>
                  <a:ext cx="1038225" cy="1106488"/>
                </a:xfrm>
                <a:custGeom>
                  <a:avLst/>
                  <a:gdLst>
                    <a:gd name="T0" fmla="*/ 2147483647 w 654"/>
                    <a:gd name="T1" fmla="*/ 2147483647 h 697"/>
                    <a:gd name="T2" fmla="*/ 2147483647 w 654"/>
                    <a:gd name="T3" fmla="*/ 2147483647 h 697"/>
                    <a:gd name="T4" fmla="*/ 2147483647 w 654"/>
                    <a:gd name="T5" fmla="*/ 2147483647 h 697"/>
                    <a:gd name="T6" fmla="*/ 0 w 654"/>
                    <a:gd name="T7" fmla="*/ 2147483647 h 697"/>
                    <a:gd name="T8" fmla="*/ 2147483647 w 654"/>
                    <a:gd name="T9" fmla="*/ 2147483647 h 697"/>
                    <a:gd name="T10" fmla="*/ 2147483647 w 654"/>
                    <a:gd name="T11" fmla="*/ 2147483647 h 697"/>
                    <a:gd name="T12" fmla="*/ 2147483647 w 654"/>
                    <a:gd name="T13" fmla="*/ 2147483647 h 697"/>
                    <a:gd name="T14" fmla="*/ 2147483647 w 654"/>
                    <a:gd name="T15" fmla="*/ 2147483647 h 697"/>
                    <a:gd name="T16" fmla="*/ 2147483647 w 654"/>
                    <a:gd name="T17" fmla="*/ 2147483647 h 697"/>
                    <a:gd name="T18" fmla="*/ 2147483647 w 654"/>
                    <a:gd name="T19" fmla="*/ 2147483647 h 697"/>
                    <a:gd name="T20" fmla="*/ 2147483647 w 654"/>
                    <a:gd name="T21" fmla="*/ 2147483647 h 697"/>
                    <a:gd name="T22" fmla="*/ 2147483647 w 654"/>
                    <a:gd name="T23" fmla="*/ 2147483647 h 697"/>
                    <a:gd name="T24" fmla="*/ 2147483647 w 654"/>
                    <a:gd name="T25" fmla="*/ 2147483647 h 697"/>
                    <a:gd name="T26" fmla="*/ 2147483647 w 654"/>
                    <a:gd name="T27" fmla="*/ 2147483647 h 697"/>
                    <a:gd name="T28" fmla="*/ 2147483647 w 654"/>
                    <a:gd name="T29" fmla="*/ 2147483647 h 697"/>
                    <a:gd name="T30" fmla="*/ 2147483647 w 654"/>
                    <a:gd name="T31" fmla="*/ 2147483647 h 697"/>
                    <a:gd name="T32" fmla="*/ 2147483647 w 654"/>
                    <a:gd name="T33" fmla="*/ 2147483647 h 697"/>
                    <a:gd name="T34" fmla="*/ 2147483647 w 654"/>
                    <a:gd name="T35" fmla="*/ 2147483647 h 697"/>
                    <a:gd name="T36" fmla="*/ 2147483647 w 654"/>
                    <a:gd name="T37" fmla="*/ 2147483647 h 697"/>
                    <a:gd name="T38" fmla="*/ 2147483647 w 654"/>
                    <a:gd name="T39" fmla="*/ 2147483647 h 697"/>
                    <a:gd name="T40" fmla="*/ 2147483647 w 654"/>
                    <a:gd name="T41" fmla="*/ 2147483647 h 697"/>
                    <a:gd name="T42" fmla="*/ 2147483647 w 654"/>
                    <a:gd name="T43" fmla="*/ 2147483647 h 697"/>
                    <a:gd name="T44" fmla="*/ 2147483647 w 654"/>
                    <a:gd name="T45" fmla="*/ 2147483647 h 697"/>
                    <a:gd name="T46" fmla="*/ 2147483647 w 654"/>
                    <a:gd name="T47" fmla="*/ 2147483647 h 697"/>
                    <a:gd name="T48" fmla="*/ 2147483647 w 654"/>
                    <a:gd name="T49" fmla="*/ 2147483647 h 697"/>
                    <a:gd name="T50" fmla="*/ 2147483647 w 654"/>
                    <a:gd name="T51" fmla="*/ 2147483647 h 697"/>
                    <a:gd name="T52" fmla="*/ 2147483647 w 654"/>
                    <a:gd name="T53" fmla="*/ 2147483647 h 697"/>
                    <a:gd name="T54" fmla="*/ 2147483647 w 654"/>
                    <a:gd name="T55" fmla="*/ 2147483647 h 697"/>
                    <a:gd name="T56" fmla="*/ 2147483647 w 654"/>
                    <a:gd name="T57" fmla="*/ 2147483647 h 697"/>
                    <a:gd name="T58" fmla="*/ 2147483647 w 654"/>
                    <a:gd name="T59" fmla="*/ 2147483647 h 697"/>
                    <a:gd name="T60" fmla="*/ 2147483647 w 654"/>
                    <a:gd name="T61" fmla="*/ 2147483647 h 697"/>
                    <a:gd name="T62" fmla="*/ 2147483647 w 654"/>
                    <a:gd name="T63" fmla="*/ 2147483647 h 697"/>
                    <a:gd name="T64" fmla="*/ 2147483647 w 654"/>
                    <a:gd name="T65" fmla="*/ 0 h 697"/>
                    <a:gd name="T66" fmla="*/ 2147483647 w 654"/>
                    <a:gd name="T67" fmla="*/ 2147483647 h 697"/>
                    <a:gd name="T68" fmla="*/ 2147483647 w 654"/>
                    <a:gd name="T69" fmla="*/ 2147483647 h 697"/>
                    <a:gd name="T70" fmla="*/ 2147483647 w 654"/>
                    <a:gd name="T71" fmla="*/ 2147483647 h 69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54"/>
                    <a:gd name="T109" fmla="*/ 0 h 697"/>
                    <a:gd name="T110" fmla="*/ 654 w 654"/>
                    <a:gd name="T111" fmla="*/ 697 h 69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54" h="697">
                      <a:moveTo>
                        <a:pt x="70" y="70"/>
                      </a:moveTo>
                      <a:lnTo>
                        <a:pt x="78" y="87"/>
                      </a:lnTo>
                      <a:lnTo>
                        <a:pt x="52" y="96"/>
                      </a:lnTo>
                      <a:lnTo>
                        <a:pt x="70" y="113"/>
                      </a:lnTo>
                      <a:lnTo>
                        <a:pt x="61" y="174"/>
                      </a:lnTo>
                      <a:lnTo>
                        <a:pt x="52" y="166"/>
                      </a:lnTo>
                      <a:lnTo>
                        <a:pt x="26" y="183"/>
                      </a:lnTo>
                      <a:lnTo>
                        <a:pt x="0" y="227"/>
                      </a:lnTo>
                      <a:lnTo>
                        <a:pt x="26" y="279"/>
                      </a:lnTo>
                      <a:lnTo>
                        <a:pt x="52" y="270"/>
                      </a:lnTo>
                      <a:lnTo>
                        <a:pt x="61" y="305"/>
                      </a:lnTo>
                      <a:lnTo>
                        <a:pt x="87" y="305"/>
                      </a:lnTo>
                      <a:lnTo>
                        <a:pt x="131" y="270"/>
                      </a:lnTo>
                      <a:lnTo>
                        <a:pt x="157" y="314"/>
                      </a:lnTo>
                      <a:lnTo>
                        <a:pt x="227" y="340"/>
                      </a:lnTo>
                      <a:lnTo>
                        <a:pt x="244" y="384"/>
                      </a:lnTo>
                      <a:lnTo>
                        <a:pt x="270" y="392"/>
                      </a:lnTo>
                      <a:lnTo>
                        <a:pt x="296" y="436"/>
                      </a:lnTo>
                      <a:lnTo>
                        <a:pt x="279" y="453"/>
                      </a:lnTo>
                      <a:lnTo>
                        <a:pt x="296" y="471"/>
                      </a:lnTo>
                      <a:lnTo>
                        <a:pt x="296" y="488"/>
                      </a:lnTo>
                      <a:lnTo>
                        <a:pt x="331" y="514"/>
                      </a:lnTo>
                      <a:lnTo>
                        <a:pt x="349" y="523"/>
                      </a:lnTo>
                      <a:lnTo>
                        <a:pt x="349" y="567"/>
                      </a:lnTo>
                      <a:lnTo>
                        <a:pt x="366" y="567"/>
                      </a:lnTo>
                      <a:lnTo>
                        <a:pt x="366" y="602"/>
                      </a:lnTo>
                      <a:lnTo>
                        <a:pt x="323" y="636"/>
                      </a:lnTo>
                      <a:lnTo>
                        <a:pt x="323" y="645"/>
                      </a:lnTo>
                      <a:lnTo>
                        <a:pt x="401" y="697"/>
                      </a:lnTo>
                      <a:lnTo>
                        <a:pt x="427" y="628"/>
                      </a:lnTo>
                      <a:lnTo>
                        <a:pt x="453" y="610"/>
                      </a:lnTo>
                      <a:lnTo>
                        <a:pt x="436" y="575"/>
                      </a:lnTo>
                      <a:lnTo>
                        <a:pt x="497" y="532"/>
                      </a:lnTo>
                      <a:lnTo>
                        <a:pt x="549" y="514"/>
                      </a:lnTo>
                      <a:lnTo>
                        <a:pt x="584" y="445"/>
                      </a:lnTo>
                      <a:lnTo>
                        <a:pt x="584" y="427"/>
                      </a:lnTo>
                      <a:lnTo>
                        <a:pt x="593" y="418"/>
                      </a:lnTo>
                      <a:lnTo>
                        <a:pt x="584" y="340"/>
                      </a:lnTo>
                      <a:lnTo>
                        <a:pt x="610" y="323"/>
                      </a:lnTo>
                      <a:lnTo>
                        <a:pt x="610" y="305"/>
                      </a:lnTo>
                      <a:lnTo>
                        <a:pt x="645" y="262"/>
                      </a:lnTo>
                      <a:lnTo>
                        <a:pt x="654" y="227"/>
                      </a:lnTo>
                      <a:lnTo>
                        <a:pt x="636" y="183"/>
                      </a:lnTo>
                      <a:lnTo>
                        <a:pt x="619" y="183"/>
                      </a:lnTo>
                      <a:lnTo>
                        <a:pt x="575" y="148"/>
                      </a:lnTo>
                      <a:lnTo>
                        <a:pt x="506" y="140"/>
                      </a:lnTo>
                      <a:lnTo>
                        <a:pt x="497" y="148"/>
                      </a:lnTo>
                      <a:lnTo>
                        <a:pt x="497" y="131"/>
                      </a:lnTo>
                      <a:lnTo>
                        <a:pt x="471" y="113"/>
                      </a:lnTo>
                      <a:lnTo>
                        <a:pt x="453" y="113"/>
                      </a:lnTo>
                      <a:lnTo>
                        <a:pt x="436" y="105"/>
                      </a:lnTo>
                      <a:lnTo>
                        <a:pt x="418" y="131"/>
                      </a:lnTo>
                      <a:lnTo>
                        <a:pt x="384" y="122"/>
                      </a:lnTo>
                      <a:lnTo>
                        <a:pt x="418" y="122"/>
                      </a:lnTo>
                      <a:lnTo>
                        <a:pt x="427" y="96"/>
                      </a:lnTo>
                      <a:lnTo>
                        <a:pt x="392" y="96"/>
                      </a:lnTo>
                      <a:lnTo>
                        <a:pt x="375" y="113"/>
                      </a:lnTo>
                      <a:lnTo>
                        <a:pt x="357" y="122"/>
                      </a:lnTo>
                      <a:lnTo>
                        <a:pt x="401" y="70"/>
                      </a:lnTo>
                      <a:lnTo>
                        <a:pt x="375" y="18"/>
                      </a:lnTo>
                      <a:lnTo>
                        <a:pt x="349" y="52"/>
                      </a:lnTo>
                      <a:lnTo>
                        <a:pt x="323" y="44"/>
                      </a:lnTo>
                      <a:lnTo>
                        <a:pt x="253" y="70"/>
                      </a:lnTo>
                      <a:lnTo>
                        <a:pt x="227" y="44"/>
                      </a:lnTo>
                      <a:lnTo>
                        <a:pt x="235" y="26"/>
                      </a:lnTo>
                      <a:lnTo>
                        <a:pt x="227" y="0"/>
                      </a:lnTo>
                      <a:lnTo>
                        <a:pt x="183" y="35"/>
                      </a:lnTo>
                      <a:lnTo>
                        <a:pt x="148" y="18"/>
                      </a:lnTo>
                      <a:lnTo>
                        <a:pt x="166" y="61"/>
                      </a:lnTo>
                      <a:lnTo>
                        <a:pt x="131" y="87"/>
                      </a:lnTo>
                      <a:lnTo>
                        <a:pt x="105" y="61"/>
                      </a:lnTo>
                      <a:lnTo>
                        <a:pt x="7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4" name="Freeform 136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5" name="Freeform 137"/>
                <p:cNvSpPr>
                  <a:spLocks/>
                </p:cNvSpPr>
                <p:nvPr/>
              </p:nvSpPr>
              <p:spPr bwMode="auto">
                <a:xfrm>
                  <a:off x="2881314" y="4783138"/>
                  <a:ext cx="138113" cy="138113"/>
                </a:xfrm>
                <a:custGeom>
                  <a:avLst/>
                  <a:gdLst>
                    <a:gd name="T0" fmla="*/ 2147483647 w 87"/>
                    <a:gd name="T1" fmla="*/ 2147483647 h 87"/>
                    <a:gd name="T2" fmla="*/ 2147483647 w 87"/>
                    <a:gd name="T3" fmla="*/ 0 h 87"/>
                    <a:gd name="T4" fmla="*/ 0 w 87"/>
                    <a:gd name="T5" fmla="*/ 2147483647 h 87"/>
                    <a:gd name="T6" fmla="*/ 0 w 87"/>
                    <a:gd name="T7" fmla="*/ 2147483647 h 87"/>
                    <a:gd name="T8" fmla="*/ 2147483647 w 87"/>
                    <a:gd name="T9" fmla="*/ 2147483647 h 87"/>
                    <a:gd name="T10" fmla="*/ 2147483647 w 87"/>
                    <a:gd name="T11" fmla="*/ 2147483647 h 87"/>
                    <a:gd name="T12" fmla="*/ 2147483647 w 87"/>
                    <a:gd name="T13" fmla="*/ 2147483647 h 8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7"/>
                    <a:gd name="T22" fmla="*/ 0 h 87"/>
                    <a:gd name="T23" fmla="*/ 87 w 87"/>
                    <a:gd name="T24" fmla="*/ 87 h 8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7" h="87">
                      <a:moveTo>
                        <a:pt x="87" y="52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0" y="70"/>
                      </a:lnTo>
                      <a:lnTo>
                        <a:pt x="26" y="87"/>
                      </a:lnTo>
                      <a:lnTo>
                        <a:pt x="61" y="79"/>
                      </a:lnTo>
                      <a:lnTo>
                        <a:pt x="87" y="52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6" name="Freeform 138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7" name="Freeform 139"/>
                <p:cNvSpPr>
                  <a:spLocks/>
                </p:cNvSpPr>
                <p:nvPr/>
              </p:nvSpPr>
              <p:spPr bwMode="auto">
                <a:xfrm>
                  <a:off x="2714626" y="4478338"/>
                  <a:ext cx="222250" cy="236538"/>
                </a:xfrm>
                <a:custGeom>
                  <a:avLst/>
                  <a:gdLst>
                    <a:gd name="T0" fmla="*/ 2147483647 w 140"/>
                    <a:gd name="T1" fmla="*/ 2147483647 h 149"/>
                    <a:gd name="T2" fmla="*/ 2147483647 w 140"/>
                    <a:gd name="T3" fmla="*/ 2147483647 h 149"/>
                    <a:gd name="T4" fmla="*/ 2147483647 w 140"/>
                    <a:gd name="T5" fmla="*/ 2147483647 h 149"/>
                    <a:gd name="T6" fmla="*/ 2147483647 w 140"/>
                    <a:gd name="T7" fmla="*/ 2147483647 h 149"/>
                    <a:gd name="T8" fmla="*/ 2147483647 w 140"/>
                    <a:gd name="T9" fmla="*/ 0 h 149"/>
                    <a:gd name="T10" fmla="*/ 2147483647 w 140"/>
                    <a:gd name="T11" fmla="*/ 0 h 149"/>
                    <a:gd name="T12" fmla="*/ 2147483647 w 140"/>
                    <a:gd name="T13" fmla="*/ 2147483647 h 149"/>
                    <a:gd name="T14" fmla="*/ 0 w 140"/>
                    <a:gd name="T15" fmla="*/ 2147483647 h 149"/>
                    <a:gd name="T16" fmla="*/ 2147483647 w 140"/>
                    <a:gd name="T17" fmla="*/ 2147483647 h 149"/>
                    <a:gd name="T18" fmla="*/ 2147483647 w 140"/>
                    <a:gd name="T19" fmla="*/ 2147483647 h 149"/>
                    <a:gd name="T20" fmla="*/ 2147483647 w 140"/>
                    <a:gd name="T21" fmla="*/ 2147483647 h 149"/>
                    <a:gd name="T22" fmla="*/ 2147483647 w 140"/>
                    <a:gd name="T23" fmla="*/ 2147483647 h 149"/>
                    <a:gd name="T24" fmla="*/ 2147483647 w 140"/>
                    <a:gd name="T25" fmla="*/ 2147483647 h 149"/>
                    <a:gd name="T26" fmla="*/ 2147483647 w 140"/>
                    <a:gd name="T27" fmla="*/ 2147483647 h 149"/>
                    <a:gd name="T28" fmla="*/ 2147483647 w 140"/>
                    <a:gd name="T29" fmla="*/ 2147483647 h 149"/>
                    <a:gd name="T30" fmla="*/ 2147483647 w 140"/>
                    <a:gd name="T31" fmla="*/ 2147483647 h 1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0"/>
                    <a:gd name="T49" fmla="*/ 0 h 149"/>
                    <a:gd name="T50" fmla="*/ 140 w 140"/>
                    <a:gd name="T51" fmla="*/ 149 h 1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0" h="149">
                      <a:moveTo>
                        <a:pt x="140" y="70"/>
                      </a:moveTo>
                      <a:lnTo>
                        <a:pt x="122" y="61"/>
                      </a:lnTo>
                      <a:lnTo>
                        <a:pt x="87" y="35"/>
                      </a:lnTo>
                      <a:lnTo>
                        <a:pt x="87" y="18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9" y="9"/>
                      </a:lnTo>
                      <a:lnTo>
                        <a:pt x="0" y="44"/>
                      </a:lnTo>
                      <a:lnTo>
                        <a:pt x="26" y="79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87" y="140"/>
                      </a:lnTo>
                      <a:lnTo>
                        <a:pt x="122" y="149"/>
                      </a:lnTo>
                      <a:lnTo>
                        <a:pt x="140" y="131"/>
                      </a:lnTo>
                      <a:lnTo>
                        <a:pt x="140" y="114"/>
                      </a:lnTo>
                      <a:lnTo>
                        <a:pt x="140" y="7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8" name="Freeform 140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29" name="Freeform 141"/>
                <p:cNvSpPr>
                  <a:spLocks/>
                </p:cNvSpPr>
                <p:nvPr/>
              </p:nvSpPr>
              <p:spPr bwMode="auto">
                <a:xfrm>
                  <a:off x="2409826" y="3565526"/>
                  <a:ext cx="333375" cy="331788"/>
                </a:xfrm>
                <a:custGeom>
                  <a:avLst/>
                  <a:gdLst>
                    <a:gd name="T0" fmla="*/ 2147483647 w 210"/>
                    <a:gd name="T1" fmla="*/ 2147483647 h 209"/>
                    <a:gd name="T2" fmla="*/ 2147483647 w 210"/>
                    <a:gd name="T3" fmla="*/ 2147483647 h 209"/>
                    <a:gd name="T4" fmla="*/ 2147483647 w 210"/>
                    <a:gd name="T5" fmla="*/ 2147483647 h 209"/>
                    <a:gd name="T6" fmla="*/ 2147483647 w 210"/>
                    <a:gd name="T7" fmla="*/ 2147483647 h 209"/>
                    <a:gd name="T8" fmla="*/ 2147483647 w 210"/>
                    <a:gd name="T9" fmla="*/ 2147483647 h 209"/>
                    <a:gd name="T10" fmla="*/ 2147483647 w 210"/>
                    <a:gd name="T11" fmla="*/ 2147483647 h 209"/>
                    <a:gd name="T12" fmla="*/ 2147483647 w 210"/>
                    <a:gd name="T13" fmla="*/ 0 h 209"/>
                    <a:gd name="T14" fmla="*/ 2147483647 w 210"/>
                    <a:gd name="T15" fmla="*/ 2147483647 h 209"/>
                    <a:gd name="T16" fmla="*/ 2147483647 w 210"/>
                    <a:gd name="T17" fmla="*/ 2147483647 h 209"/>
                    <a:gd name="T18" fmla="*/ 2147483647 w 210"/>
                    <a:gd name="T19" fmla="*/ 2147483647 h 209"/>
                    <a:gd name="T20" fmla="*/ 2147483647 w 210"/>
                    <a:gd name="T21" fmla="*/ 2147483647 h 209"/>
                    <a:gd name="T22" fmla="*/ 2147483647 w 210"/>
                    <a:gd name="T23" fmla="*/ 2147483647 h 209"/>
                    <a:gd name="T24" fmla="*/ 2147483647 w 210"/>
                    <a:gd name="T25" fmla="*/ 0 h 209"/>
                    <a:gd name="T26" fmla="*/ 0 w 210"/>
                    <a:gd name="T27" fmla="*/ 2147483647 h 209"/>
                    <a:gd name="T28" fmla="*/ 0 w 210"/>
                    <a:gd name="T29" fmla="*/ 2147483647 h 209"/>
                    <a:gd name="T30" fmla="*/ 2147483647 w 210"/>
                    <a:gd name="T31" fmla="*/ 2147483647 h 209"/>
                    <a:gd name="T32" fmla="*/ 2147483647 w 210"/>
                    <a:gd name="T33" fmla="*/ 2147483647 h 209"/>
                    <a:gd name="T34" fmla="*/ 2147483647 w 210"/>
                    <a:gd name="T35" fmla="*/ 2147483647 h 209"/>
                    <a:gd name="T36" fmla="*/ 2147483647 w 210"/>
                    <a:gd name="T37" fmla="*/ 2147483647 h 209"/>
                    <a:gd name="T38" fmla="*/ 2147483647 w 210"/>
                    <a:gd name="T39" fmla="*/ 2147483647 h 209"/>
                    <a:gd name="T40" fmla="*/ 2147483647 w 210"/>
                    <a:gd name="T41" fmla="*/ 2147483647 h 209"/>
                    <a:gd name="T42" fmla="*/ 2147483647 w 210"/>
                    <a:gd name="T43" fmla="*/ 2147483647 h 209"/>
                    <a:gd name="T44" fmla="*/ 2147483647 w 210"/>
                    <a:gd name="T45" fmla="*/ 2147483647 h 209"/>
                    <a:gd name="T46" fmla="*/ 2147483647 w 210"/>
                    <a:gd name="T47" fmla="*/ 2147483647 h 209"/>
                    <a:gd name="T48" fmla="*/ 2147483647 w 210"/>
                    <a:gd name="T49" fmla="*/ 2147483647 h 209"/>
                    <a:gd name="T50" fmla="*/ 2147483647 w 210"/>
                    <a:gd name="T51" fmla="*/ 2147483647 h 209"/>
                    <a:gd name="T52" fmla="*/ 2147483647 w 210"/>
                    <a:gd name="T53" fmla="*/ 2147483647 h 209"/>
                    <a:gd name="T54" fmla="*/ 2147483647 w 210"/>
                    <a:gd name="T55" fmla="*/ 2147483647 h 209"/>
                    <a:gd name="T56" fmla="*/ 2147483647 w 210"/>
                    <a:gd name="T57" fmla="*/ 2147483647 h 209"/>
                    <a:gd name="T58" fmla="*/ 2147483647 w 210"/>
                    <a:gd name="T59" fmla="*/ 2147483647 h 209"/>
                    <a:gd name="T60" fmla="*/ 2147483647 w 210"/>
                    <a:gd name="T61" fmla="*/ 2147483647 h 209"/>
                    <a:gd name="T62" fmla="*/ 2147483647 w 210"/>
                    <a:gd name="T63" fmla="*/ 2147483647 h 209"/>
                    <a:gd name="T64" fmla="*/ 2147483647 w 210"/>
                    <a:gd name="T65" fmla="*/ 2147483647 h 209"/>
                    <a:gd name="T66" fmla="*/ 2147483647 w 210"/>
                    <a:gd name="T67" fmla="*/ 2147483647 h 20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0"/>
                    <a:gd name="T103" fmla="*/ 0 h 209"/>
                    <a:gd name="T104" fmla="*/ 210 w 210"/>
                    <a:gd name="T105" fmla="*/ 209 h 20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0" h="209">
                      <a:moveTo>
                        <a:pt x="140" y="26"/>
                      </a:moveTo>
                      <a:lnTo>
                        <a:pt x="140" y="35"/>
                      </a:lnTo>
                      <a:lnTo>
                        <a:pt x="131" y="44"/>
                      </a:lnTo>
                      <a:lnTo>
                        <a:pt x="114" y="35"/>
                      </a:lnTo>
                      <a:lnTo>
                        <a:pt x="70" y="35"/>
                      </a:lnTo>
                      <a:lnTo>
                        <a:pt x="70" y="18"/>
                      </a:lnTo>
                      <a:lnTo>
                        <a:pt x="44" y="0"/>
                      </a:lnTo>
                      <a:lnTo>
                        <a:pt x="44" y="18"/>
                      </a:lnTo>
                      <a:lnTo>
                        <a:pt x="35" y="26"/>
                      </a:lnTo>
                      <a:lnTo>
                        <a:pt x="35" y="61"/>
                      </a:lnTo>
                      <a:lnTo>
                        <a:pt x="18" y="52"/>
                      </a:lnTo>
                      <a:lnTo>
                        <a:pt x="18" y="35"/>
                      </a:lnTo>
                      <a:lnTo>
                        <a:pt x="27" y="0"/>
                      </a:lnTo>
                      <a:lnTo>
                        <a:pt x="0" y="35"/>
                      </a:lnTo>
                      <a:lnTo>
                        <a:pt x="0" y="70"/>
                      </a:lnTo>
                      <a:lnTo>
                        <a:pt x="44" y="96"/>
                      </a:lnTo>
                      <a:lnTo>
                        <a:pt x="53" y="113"/>
                      </a:lnTo>
                      <a:lnTo>
                        <a:pt x="88" y="105"/>
                      </a:lnTo>
                      <a:lnTo>
                        <a:pt x="88" y="122"/>
                      </a:lnTo>
                      <a:lnTo>
                        <a:pt x="88" y="157"/>
                      </a:lnTo>
                      <a:lnTo>
                        <a:pt x="88" y="183"/>
                      </a:lnTo>
                      <a:lnTo>
                        <a:pt x="114" y="209"/>
                      </a:lnTo>
                      <a:lnTo>
                        <a:pt x="149" y="183"/>
                      </a:lnTo>
                      <a:lnTo>
                        <a:pt x="131" y="140"/>
                      </a:lnTo>
                      <a:lnTo>
                        <a:pt x="166" y="157"/>
                      </a:lnTo>
                      <a:lnTo>
                        <a:pt x="210" y="122"/>
                      </a:lnTo>
                      <a:lnTo>
                        <a:pt x="192" y="105"/>
                      </a:lnTo>
                      <a:lnTo>
                        <a:pt x="210" y="96"/>
                      </a:lnTo>
                      <a:lnTo>
                        <a:pt x="210" y="70"/>
                      </a:lnTo>
                      <a:lnTo>
                        <a:pt x="192" y="44"/>
                      </a:lnTo>
                      <a:lnTo>
                        <a:pt x="184" y="52"/>
                      </a:lnTo>
                      <a:lnTo>
                        <a:pt x="166" y="35"/>
                      </a:lnTo>
                      <a:lnTo>
                        <a:pt x="175" y="26"/>
                      </a:lnTo>
                      <a:lnTo>
                        <a:pt x="14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0" name="Freeform 142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1" name="Freeform 143"/>
                <p:cNvSpPr>
                  <a:spLocks/>
                </p:cNvSpPr>
                <p:nvPr/>
              </p:nvSpPr>
              <p:spPr bwMode="auto">
                <a:xfrm>
                  <a:off x="2895601" y="3744913"/>
                  <a:ext cx="82550" cy="96838"/>
                </a:xfrm>
                <a:custGeom>
                  <a:avLst/>
                  <a:gdLst>
                    <a:gd name="T0" fmla="*/ 0 w 52"/>
                    <a:gd name="T1" fmla="*/ 2147483647 h 61"/>
                    <a:gd name="T2" fmla="*/ 2147483647 w 52"/>
                    <a:gd name="T3" fmla="*/ 2147483647 h 61"/>
                    <a:gd name="T4" fmla="*/ 2147483647 w 52"/>
                    <a:gd name="T5" fmla="*/ 2147483647 h 61"/>
                    <a:gd name="T6" fmla="*/ 2147483647 w 52"/>
                    <a:gd name="T7" fmla="*/ 0 h 61"/>
                    <a:gd name="T8" fmla="*/ 0 w 52"/>
                    <a:gd name="T9" fmla="*/ 2147483647 h 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61"/>
                    <a:gd name="T17" fmla="*/ 52 w 52"/>
                    <a:gd name="T18" fmla="*/ 61 h 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61">
                      <a:moveTo>
                        <a:pt x="0" y="53"/>
                      </a:moveTo>
                      <a:lnTo>
                        <a:pt x="26" y="61"/>
                      </a:lnTo>
                      <a:lnTo>
                        <a:pt x="52" y="27"/>
                      </a:lnTo>
                      <a:lnTo>
                        <a:pt x="8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2" name="Freeform 144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3" name="Freeform 145"/>
                <p:cNvSpPr>
                  <a:spLocks/>
                </p:cNvSpPr>
                <p:nvPr/>
              </p:nvSpPr>
              <p:spPr bwMode="auto">
                <a:xfrm>
                  <a:off x="2811464" y="3744913"/>
                  <a:ext cx="96838" cy="96838"/>
                </a:xfrm>
                <a:custGeom>
                  <a:avLst/>
                  <a:gdLst>
                    <a:gd name="T0" fmla="*/ 2147483647 w 61"/>
                    <a:gd name="T1" fmla="*/ 0 h 61"/>
                    <a:gd name="T2" fmla="*/ 2147483647 w 61"/>
                    <a:gd name="T3" fmla="*/ 0 h 61"/>
                    <a:gd name="T4" fmla="*/ 0 w 61"/>
                    <a:gd name="T5" fmla="*/ 2147483647 h 61"/>
                    <a:gd name="T6" fmla="*/ 2147483647 w 61"/>
                    <a:gd name="T7" fmla="*/ 2147483647 h 61"/>
                    <a:gd name="T8" fmla="*/ 2147483647 w 61"/>
                    <a:gd name="T9" fmla="*/ 2147483647 h 61"/>
                    <a:gd name="T10" fmla="*/ 2147483647 w 61"/>
                    <a:gd name="T11" fmla="*/ 0 h 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61"/>
                    <a:gd name="T20" fmla="*/ 61 w 61"/>
                    <a:gd name="T21" fmla="*/ 61 h 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61">
                      <a:moveTo>
                        <a:pt x="61" y="0"/>
                      </a:moveTo>
                      <a:lnTo>
                        <a:pt x="9" y="0"/>
                      </a:lnTo>
                      <a:lnTo>
                        <a:pt x="0" y="27"/>
                      </a:lnTo>
                      <a:lnTo>
                        <a:pt x="26" y="61"/>
                      </a:lnTo>
                      <a:lnTo>
                        <a:pt x="53" y="5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4" name="Freeform 146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35" name="Freeform 147"/>
                <p:cNvSpPr>
                  <a:spLocks/>
                </p:cNvSpPr>
                <p:nvPr/>
              </p:nvSpPr>
              <p:spPr bwMode="auto">
                <a:xfrm>
                  <a:off x="2714626" y="3676651"/>
                  <a:ext cx="138113" cy="193675"/>
                </a:xfrm>
                <a:custGeom>
                  <a:avLst/>
                  <a:gdLst>
                    <a:gd name="T0" fmla="*/ 2147483647 w 87"/>
                    <a:gd name="T1" fmla="*/ 0 h 122"/>
                    <a:gd name="T2" fmla="*/ 2147483647 w 87"/>
                    <a:gd name="T3" fmla="*/ 2147483647 h 122"/>
                    <a:gd name="T4" fmla="*/ 0 w 87"/>
                    <a:gd name="T5" fmla="*/ 2147483647 h 122"/>
                    <a:gd name="T6" fmla="*/ 2147483647 w 87"/>
                    <a:gd name="T7" fmla="*/ 2147483647 h 122"/>
                    <a:gd name="T8" fmla="*/ 2147483647 w 87"/>
                    <a:gd name="T9" fmla="*/ 2147483647 h 122"/>
                    <a:gd name="T10" fmla="*/ 2147483647 w 87"/>
                    <a:gd name="T11" fmla="*/ 2147483647 h 122"/>
                    <a:gd name="T12" fmla="*/ 2147483647 w 87"/>
                    <a:gd name="T13" fmla="*/ 2147483647 h 122"/>
                    <a:gd name="T14" fmla="*/ 2147483647 w 87"/>
                    <a:gd name="T15" fmla="*/ 2147483647 h 122"/>
                    <a:gd name="T16" fmla="*/ 2147483647 w 87"/>
                    <a:gd name="T17" fmla="*/ 2147483647 h 122"/>
                    <a:gd name="T18" fmla="*/ 2147483647 w 87"/>
                    <a:gd name="T19" fmla="*/ 0 h 12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122"/>
                    <a:gd name="T32" fmla="*/ 87 w 87"/>
                    <a:gd name="T33" fmla="*/ 122 h 12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122">
                      <a:moveTo>
                        <a:pt x="18" y="0"/>
                      </a:moveTo>
                      <a:lnTo>
                        <a:pt x="18" y="26"/>
                      </a:lnTo>
                      <a:lnTo>
                        <a:pt x="0" y="35"/>
                      </a:lnTo>
                      <a:lnTo>
                        <a:pt x="26" y="78"/>
                      </a:lnTo>
                      <a:lnTo>
                        <a:pt x="18" y="96"/>
                      </a:lnTo>
                      <a:lnTo>
                        <a:pt x="44" y="122"/>
                      </a:lnTo>
                      <a:lnTo>
                        <a:pt x="87" y="104"/>
                      </a:lnTo>
                      <a:lnTo>
                        <a:pt x="61" y="70"/>
                      </a:lnTo>
                      <a:lnTo>
                        <a:pt x="70" y="4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grpSp>
            <p:nvGrpSpPr>
              <p:cNvPr id="23" name="Group 338"/>
              <p:cNvGrpSpPr>
                <a:grpSpLocks/>
              </p:cNvGrpSpPr>
              <p:nvPr/>
            </p:nvGrpSpPr>
            <p:grpSpPr bwMode="auto">
              <a:xfrm>
                <a:off x="1802724" y="1270113"/>
                <a:ext cx="2381471" cy="1399622"/>
                <a:chOff x="625476" y="1643063"/>
                <a:chExt cx="3529013" cy="2074863"/>
              </a:xfrm>
              <a:grpFill/>
            </p:grpSpPr>
            <p:sp>
              <p:nvSpPr>
                <p:cNvPr id="500" name="Freeform 18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1" name="Freeform 19"/>
                <p:cNvSpPr>
                  <a:spLocks/>
                </p:cNvSpPr>
                <p:nvPr/>
              </p:nvSpPr>
              <p:spPr bwMode="auto">
                <a:xfrm>
                  <a:off x="625476" y="1933576"/>
                  <a:ext cx="982663" cy="428625"/>
                </a:xfrm>
                <a:custGeom>
                  <a:avLst/>
                  <a:gdLst>
                    <a:gd name="T0" fmla="*/ 2147483647 w 619"/>
                    <a:gd name="T1" fmla="*/ 2147483647 h 270"/>
                    <a:gd name="T2" fmla="*/ 2147483647 w 619"/>
                    <a:gd name="T3" fmla="*/ 2147483647 h 270"/>
                    <a:gd name="T4" fmla="*/ 2147483647 w 619"/>
                    <a:gd name="T5" fmla="*/ 2147483647 h 270"/>
                    <a:gd name="T6" fmla="*/ 2147483647 w 619"/>
                    <a:gd name="T7" fmla="*/ 2147483647 h 270"/>
                    <a:gd name="T8" fmla="*/ 2147483647 w 619"/>
                    <a:gd name="T9" fmla="*/ 2147483647 h 270"/>
                    <a:gd name="T10" fmla="*/ 2147483647 w 619"/>
                    <a:gd name="T11" fmla="*/ 2147483647 h 270"/>
                    <a:gd name="T12" fmla="*/ 2147483647 w 619"/>
                    <a:gd name="T13" fmla="*/ 2147483647 h 270"/>
                    <a:gd name="T14" fmla="*/ 2147483647 w 619"/>
                    <a:gd name="T15" fmla="*/ 2147483647 h 270"/>
                    <a:gd name="T16" fmla="*/ 2147483647 w 619"/>
                    <a:gd name="T17" fmla="*/ 2147483647 h 270"/>
                    <a:gd name="T18" fmla="*/ 2147483647 w 619"/>
                    <a:gd name="T19" fmla="*/ 2147483647 h 270"/>
                    <a:gd name="T20" fmla="*/ 2147483647 w 619"/>
                    <a:gd name="T21" fmla="*/ 2147483647 h 270"/>
                    <a:gd name="T22" fmla="*/ 2147483647 w 619"/>
                    <a:gd name="T23" fmla="*/ 2147483647 h 270"/>
                    <a:gd name="T24" fmla="*/ 2147483647 w 619"/>
                    <a:gd name="T25" fmla="*/ 2147483647 h 270"/>
                    <a:gd name="T26" fmla="*/ 2147483647 w 619"/>
                    <a:gd name="T27" fmla="*/ 2147483647 h 270"/>
                    <a:gd name="T28" fmla="*/ 2147483647 w 619"/>
                    <a:gd name="T29" fmla="*/ 2147483647 h 270"/>
                    <a:gd name="T30" fmla="*/ 2147483647 w 619"/>
                    <a:gd name="T31" fmla="*/ 2147483647 h 270"/>
                    <a:gd name="T32" fmla="*/ 2147483647 w 619"/>
                    <a:gd name="T33" fmla="*/ 2147483647 h 270"/>
                    <a:gd name="T34" fmla="*/ 2147483647 w 619"/>
                    <a:gd name="T35" fmla="*/ 2147483647 h 270"/>
                    <a:gd name="T36" fmla="*/ 2147483647 w 619"/>
                    <a:gd name="T37" fmla="*/ 2147483647 h 270"/>
                    <a:gd name="T38" fmla="*/ 2147483647 w 619"/>
                    <a:gd name="T39" fmla="*/ 2147483647 h 270"/>
                    <a:gd name="T40" fmla="*/ 2147483647 w 619"/>
                    <a:gd name="T41" fmla="*/ 2147483647 h 270"/>
                    <a:gd name="T42" fmla="*/ 2147483647 w 619"/>
                    <a:gd name="T43" fmla="*/ 2147483647 h 270"/>
                    <a:gd name="T44" fmla="*/ 2147483647 w 619"/>
                    <a:gd name="T45" fmla="*/ 2147483647 h 270"/>
                    <a:gd name="T46" fmla="*/ 2147483647 w 619"/>
                    <a:gd name="T47" fmla="*/ 2147483647 h 270"/>
                    <a:gd name="T48" fmla="*/ 0 w 619"/>
                    <a:gd name="T49" fmla="*/ 2147483647 h 270"/>
                    <a:gd name="T50" fmla="*/ 2147483647 w 619"/>
                    <a:gd name="T51" fmla="*/ 2147483647 h 270"/>
                    <a:gd name="T52" fmla="*/ 2147483647 w 619"/>
                    <a:gd name="T53" fmla="*/ 2147483647 h 270"/>
                    <a:gd name="T54" fmla="*/ 2147483647 w 619"/>
                    <a:gd name="T55" fmla="*/ 2147483647 h 270"/>
                    <a:gd name="T56" fmla="*/ 2147483647 w 619"/>
                    <a:gd name="T57" fmla="*/ 2147483647 h 270"/>
                    <a:gd name="T58" fmla="*/ 2147483647 w 619"/>
                    <a:gd name="T59" fmla="*/ 2147483647 h 270"/>
                    <a:gd name="T60" fmla="*/ 2147483647 w 619"/>
                    <a:gd name="T61" fmla="*/ 2147483647 h 270"/>
                    <a:gd name="T62" fmla="*/ 2147483647 w 619"/>
                    <a:gd name="T63" fmla="*/ 2147483647 h 270"/>
                    <a:gd name="T64" fmla="*/ 2147483647 w 619"/>
                    <a:gd name="T65" fmla="*/ 2147483647 h 270"/>
                    <a:gd name="T66" fmla="*/ 2147483647 w 619"/>
                    <a:gd name="T67" fmla="*/ 2147483647 h 270"/>
                    <a:gd name="T68" fmla="*/ 2147483647 w 619"/>
                    <a:gd name="T69" fmla="*/ 2147483647 h 270"/>
                    <a:gd name="T70" fmla="*/ 2147483647 w 619"/>
                    <a:gd name="T71" fmla="*/ 2147483647 h 270"/>
                    <a:gd name="T72" fmla="*/ 2147483647 w 619"/>
                    <a:gd name="T73" fmla="*/ 2147483647 h 270"/>
                    <a:gd name="T74" fmla="*/ 2147483647 w 619"/>
                    <a:gd name="T75" fmla="*/ 2147483647 h 270"/>
                    <a:gd name="T76" fmla="*/ 2147483647 w 619"/>
                    <a:gd name="T77" fmla="*/ 2147483647 h 270"/>
                    <a:gd name="T78" fmla="*/ 2147483647 w 619"/>
                    <a:gd name="T79" fmla="*/ 2147483647 h 270"/>
                    <a:gd name="T80" fmla="*/ 2147483647 w 619"/>
                    <a:gd name="T81" fmla="*/ 2147483647 h 270"/>
                    <a:gd name="T82" fmla="*/ 2147483647 w 619"/>
                    <a:gd name="T83" fmla="*/ 2147483647 h 270"/>
                    <a:gd name="T84" fmla="*/ 2147483647 w 619"/>
                    <a:gd name="T85" fmla="*/ 2147483647 h 270"/>
                    <a:gd name="T86" fmla="*/ 2147483647 w 619"/>
                    <a:gd name="T87" fmla="*/ 2147483647 h 270"/>
                    <a:gd name="T88" fmla="*/ 2147483647 w 619"/>
                    <a:gd name="T89" fmla="*/ 2147483647 h 270"/>
                    <a:gd name="T90" fmla="*/ 2147483647 w 619"/>
                    <a:gd name="T91" fmla="*/ 2147483647 h 270"/>
                    <a:gd name="T92" fmla="*/ 2147483647 w 619"/>
                    <a:gd name="T93" fmla="*/ 2147483647 h 270"/>
                    <a:gd name="T94" fmla="*/ 2147483647 w 619"/>
                    <a:gd name="T95" fmla="*/ 2147483647 h 270"/>
                    <a:gd name="T96" fmla="*/ 2147483647 w 619"/>
                    <a:gd name="T97" fmla="*/ 2147483647 h 270"/>
                    <a:gd name="T98" fmla="*/ 2147483647 w 619"/>
                    <a:gd name="T99" fmla="*/ 2147483647 h 270"/>
                    <a:gd name="T100" fmla="*/ 2147483647 w 619"/>
                    <a:gd name="T101" fmla="*/ 2147483647 h 270"/>
                    <a:gd name="T102" fmla="*/ 2147483647 w 619"/>
                    <a:gd name="T103" fmla="*/ 2147483647 h 270"/>
                    <a:gd name="T104" fmla="*/ 2147483647 w 619"/>
                    <a:gd name="T105" fmla="*/ 2147483647 h 270"/>
                    <a:gd name="T106" fmla="*/ 2147483647 w 619"/>
                    <a:gd name="T107" fmla="*/ 2147483647 h 270"/>
                    <a:gd name="T108" fmla="*/ 2147483647 w 619"/>
                    <a:gd name="T109" fmla="*/ 2147483647 h 270"/>
                    <a:gd name="T110" fmla="*/ 2147483647 w 619"/>
                    <a:gd name="T111" fmla="*/ 2147483647 h 270"/>
                    <a:gd name="T112" fmla="*/ 2147483647 w 619"/>
                    <a:gd name="T113" fmla="*/ 2147483647 h 270"/>
                    <a:gd name="T114" fmla="*/ 2147483647 w 619"/>
                    <a:gd name="T115" fmla="*/ 2147483647 h 270"/>
                    <a:gd name="T116" fmla="*/ 2147483647 w 619"/>
                    <a:gd name="T117" fmla="*/ 2147483647 h 270"/>
                    <a:gd name="T118" fmla="*/ 2147483647 w 619"/>
                    <a:gd name="T119" fmla="*/ 2147483647 h 270"/>
                    <a:gd name="T120" fmla="*/ 2147483647 w 619"/>
                    <a:gd name="T121" fmla="*/ 0 h 270"/>
                    <a:gd name="T122" fmla="*/ 2147483647 w 619"/>
                    <a:gd name="T123" fmla="*/ 0 h 270"/>
                    <a:gd name="T124" fmla="*/ 2147483647 w 619"/>
                    <a:gd name="T125" fmla="*/ 2147483647 h 27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19"/>
                    <a:gd name="T190" fmla="*/ 0 h 270"/>
                    <a:gd name="T191" fmla="*/ 619 w 619"/>
                    <a:gd name="T192" fmla="*/ 270 h 270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19" h="270">
                      <a:moveTo>
                        <a:pt x="314" y="26"/>
                      </a:moveTo>
                      <a:lnTo>
                        <a:pt x="296" y="43"/>
                      </a:lnTo>
                      <a:lnTo>
                        <a:pt x="314" y="69"/>
                      </a:lnTo>
                      <a:lnTo>
                        <a:pt x="296" y="69"/>
                      </a:lnTo>
                      <a:lnTo>
                        <a:pt x="244" y="78"/>
                      </a:lnTo>
                      <a:lnTo>
                        <a:pt x="218" y="96"/>
                      </a:lnTo>
                      <a:lnTo>
                        <a:pt x="244" y="96"/>
                      </a:lnTo>
                      <a:lnTo>
                        <a:pt x="270" y="87"/>
                      </a:lnTo>
                      <a:lnTo>
                        <a:pt x="252" y="113"/>
                      </a:lnTo>
                      <a:lnTo>
                        <a:pt x="209" y="122"/>
                      </a:lnTo>
                      <a:lnTo>
                        <a:pt x="191" y="113"/>
                      </a:lnTo>
                      <a:lnTo>
                        <a:pt x="122" y="165"/>
                      </a:lnTo>
                      <a:lnTo>
                        <a:pt x="130" y="165"/>
                      </a:lnTo>
                      <a:lnTo>
                        <a:pt x="165" y="165"/>
                      </a:lnTo>
                      <a:lnTo>
                        <a:pt x="130" y="191"/>
                      </a:lnTo>
                      <a:lnTo>
                        <a:pt x="165" y="191"/>
                      </a:lnTo>
                      <a:lnTo>
                        <a:pt x="183" y="183"/>
                      </a:lnTo>
                      <a:lnTo>
                        <a:pt x="191" y="191"/>
                      </a:lnTo>
                      <a:lnTo>
                        <a:pt x="130" y="226"/>
                      </a:lnTo>
                      <a:lnTo>
                        <a:pt x="96" y="235"/>
                      </a:lnTo>
                      <a:lnTo>
                        <a:pt x="87" y="244"/>
                      </a:lnTo>
                      <a:lnTo>
                        <a:pt x="52" y="244"/>
                      </a:lnTo>
                      <a:lnTo>
                        <a:pt x="43" y="252"/>
                      </a:lnTo>
                      <a:lnTo>
                        <a:pt x="17" y="252"/>
                      </a:lnTo>
                      <a:lnTo>
                        <a:pt x="0" y="270"/>
                      </a:lnTo>
                      <a:lnTo>
                        <a:pt x="26" y="270"/>
                      </a:lnTo>
                      <a:lnTo>
                        <a:pt x="35" y="261"/>
                      </a:lnTo>
                      <a:lnTo>
                        <a:pt x="43" y="261"/>
                      </a:lnTo>
                      <a:lnTo>
                        <a:pt x="78" y="252"/>
                      </a:lnTo>
                      <a:lnTo>
                        <a:pt x="78" y="261"/>
                      </a:lnTo>
                      <a:lnTo>
                        <a:pt x="96" y="252"/>
                      </a:lnTo>
                      <a:lnTo>
                        <a:pt x="200" y="209"/>
                      </a:lnTo>
                      <a:lnTo>
                        <a:pt x="226" y="191"/>
                      </a:lnTo>
                      <a:lnTo>
                        <a:pt x="252" y="191"/>
                      </a:lnTo>
                      <a:lnTo>
                        <a:pt x="279" y="165"/>
                      </a:lnTo>
                      <a:lnTo>
                        <a:pt x="331" y="139"/>
                      </a:lnTo>
                      <a:lnTo>
                        <a:pt x="322" y="148"/>
                      </a:lnTo>
                      <a:lnTo>
                        <a:pt x="296" y="165"/>
                      </a:lnTo>
                      <a:lnTo>
                        <a:pt x="287" y="183"/>
                      </a:lnTo>
                      <a:lnTo>
                        <a:pt x="357" y="165"/>
                      </a:lnTo>
                      <a:lnTo>
                        <a:pt x="357" y="148"/>
                      </a:lnTo>
                      <a:lnTo>
                        <a:pt x="375" y="148"/>
                      </a:lnTo>
                      <a:lnTo>
                        <a:pt x="375" y="165"/>
                      </a:lnTo>
                      <a:lnTo>
                        <a:pt x="462" y="183"/>
                      </a:lnTo>
                      <a:lnTo>
                        <a:pt x="470" y="209"/>
                      </a:lnTo>
                      <a:lnTo>
                        <a:pt x="488" y="191"/>
                      </a:lnTo>
                      <a:lnTo>
                        <a:pt x="497" y="191"/>
                      </a:lnTo>
                      <a:lnTo>
                        <a:pt x="497" y="235"/>
                      </a:lnTo>
                      <a:lnTo>
                        <a:pt x="505" y="252"/>
                      </a:lnTo>
                      <a:lnTo>
                        <a:pt x="523" y="244"/>
                      </a:lnTo>
                      <a:lnTo>
                        <a:pt x="523" y="226"/>
                      </a:lnTo>
                      <a:lnTo>
                        <a:pt x="523" y="191"/>
                      </a:lnTo>
                      <a:lnTo>
                        <a:pt x="514" y="165"/>
                      </a:lnTo>
                      <a:lnTo>
                        <a:pt x="479" y="183"/>
                      </a:lnTo>
                      <a:lnTo>
                        <a:pt x="488" y="165"/>
                      </a:lnTo>
                      <a:lnTo>
                        <a:pt x="453" y="157"/>
                      </a:lnTo>
                      <a:lnTo>
                        <a:pt x="619" y="17"/>
                      </a:lnTo>
                      <a:lnTo>
                        <a:pt x="610" y="8"/>
                      </a:lnTo>
                      <a:lnTo>
                        <a:pt x="593" y="17"/>
                      </a:lnTo>
                      <a:lnTo>
                        <a:pt x="558" y="8"/>
                      </a:lnTo>
                      <a:lnTo>
                        <a:pt x="462" y="0"/>
                      </a:lnTo>
                      <a:lnTo>
                        <a:pt x="375" y="0"/>
                      </a:lnTo>
                      <a:lnTo>
                        <a:pt x="31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2" name="Freeform 20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3" name="Freeform 21"/>
                <p:cNvSpPr>
                  <a:spLocks/>
                </p:cNvSpPr>
                <p:nvPr/>
              </p:nvSpPr>
              <p:spPr bwMode="auto">
                <a:xfrm>
                  <a:off x="1274764" y="2486026"/>
                  <a:ext cx="1481138" cy="706438"/>
                </a:xfrm>
                <a:custGeom>
                  <a:avLst/>
                  <a:gdLst>
                    <a:gd name="T0" fmla="*/ 2147483647 w 933"/>
                    <a:gd name="T1" fmla="*/ 2147483647 h 445"/>
                    <a:gd name="T2" fmla="*/ 2147483647 w 933"/>
                    <a:gd name="T3" fmla="*/ 2147483647 h 445"/>
                    <a:gd name="T4" fmla="*/ 2147483647 w 933"/>
                    <a:gd name="T5" fmla="*/ 2147483647 h 445"/>
                    <a:gd name="T6" fmla="*/ 2147483647 w 933"/>
                    <a:gd name="T7" fmla="*/ 2147483647 h 445"/>
                    <a:gd name="T8" fmla="*/ 2147483647 w 933"/>
                    <a:gd name="T9" fmla="*/ 2147483647 h 445"/>
                    <a:gd name="T10" fmla="*/ 2147483647 w 933"/>
                    <a:gd name="T11" fmla="*/ 2147483647 h 445"/>
                    <a:gd name="T12" fmla="*/ 2147483647 w 933"/>
                    <a:gd name="T13" fmla="*/ 2147483647 h 445"/>
                    <a:gd name="T14" fmla="*/ 2147483647 w 933"/>
                    <a:gd name="T15" fmla="*/ 2147483647 h 445"/>
                    <a:gd name="T16" fmla="*/ 2147483647 w 933"/>
                    <a:gd name="T17" fmla="*/ 2147483647 h 445"/>
                    <a:gd name="T18" fmla="*/ 2147483647 w 933"/>
                    <a:gd name="T19" fmla="*/ 2147483647 h 445"/>
                    <a:gd name="T20" fmla="*/ 2147483647 w 933"/>
                    <a:gd name="T21" fmla="*/ 2147483647 h 445"/>
                    <a:gd name="T22" fmla="*/ 2147483647 w 933"/>
                    <a:gd name="T23" fmla="*/ 2147483647 h 445"/>
                    <a:gd name="T24" fmla="*/ 2147483647 w 933"/>
                    <a:gd name="T25" fmla="*/ 2147483647 h 445"/>
                    <a:gd name="T26" fmla="*/ 2147483647 w 933"/>
                    <a:gd name="T27" fmla="*/ 2147483647 h 445"/>
                    <a:gd name="T28" fmla="*/ 2147483647 w 933"/>
                    <a:gd name="T29" fmla="*/ 2147483647 h 445"/>
                    <a:gd name="T30" fmla="*/ 2147483647 w 933"/>
                    <a:gd name="T31" fmla="*/ 2147483647 h 445"/>
                    <a:gd name="T32" fmla="*/ 2147483647 w 933"/>
                    <a:gd name="T33" fmla="*/ 2147483647 h 445"/>
                    <a:gd name="T34" fmla="*/ 2147483647 w 933"/>
                    <a:gd name="T35" fmla="*/ 2147483647 h 445"/>
                    <a:gd name="T36" fmla="*/ 2147483647 w 933"/>
                    <a:gd name="T37" fmla="*/ 2147483647 h 445"/>
                    <a:gd name="T38" fmla="*/ 2147483647 w 933"/>
                    <a:gd name="T39" fmla="*/ 0 h 445"/>
                    <a:gd name="T40" fmla="*/ 2147483647 w 933"/>
                    <a:gd name="T41" fmla="*/ 2147483647 h 445"/>
                    <a:gd name="T42" fmla="*/ 2147483647 w 933"/>
                    <a:gd name="T43" fmla="*/ 2147483647 h 445"/>
                    <a:gd name="T44" fmla="*/ 2147483647 w 933"/>
                    <a:gd name="T45" fmla="*/ 2147483647 h 445"/>
                    <a:gd name="T46" fmla="*/ 2147483647 w 933"/>
                    <a:gd name="T47" fmla="*/ 2147483647 h 445"/>
                    <a:gd name="T48" fmla="*/ 0 w 933"/>
                    <a:gd name="T49" fmla="*/ 2147483647 h 445"/>
                    <a:gd name="T50" fmla="*/ 2147483647 w 933"/>
                    <a:gd name="T51" fmla="*/ 2147483647 h 445"/>
                    <a:gd name="T52" fmla="*/ 2147483647 w 933"/>
                    <a:gd name="T53" fmla="*/ 2147483647 h 445"/>
                    <a:gd name="T54" fmla="*/ 2147483647 w 933"/>
                    <a:gd name="T55" fmla="*/ 2147483647 h 445"/>
                    <a:gd name="T56" fmla="*/ 2147483647 w 933"/>
                    <a:gd name="T57" fmla="*/ 2147483647 h 445"/>
                    <a:gd name="T58" fmla="*/ 2147483647 w 933"/>
                    <a:gd name="T59" fmla="*/ 2147483647 h 445"/>
                    <a:gd name="T60" fmla="*/ 2147483647 w 933"/>
                    <a:gd name="T61" fmla="*/ 2147483647 h 445"/>
                    <a:gd name="T62" fmla="*/ 2147483647 w 933"/>
                    <a:gd name="T63" fmla="*/ 2147483647 h 445"/>
                    <a:gd name="T64" fmla="*/ 2147483647 w 933"/>
                    <a:gd name="T65" fmla="*/ 2147483647 h 445"/>
                    <a:gd name="T66" fmla="*/ 2147483647 w 933"/>
                    <a:gd name="T67" fmla="*/ 2147483647 h 445"/>
                    <a:gd name="T68" fmla="*/ 2147483647 w 933"/>
                    <a:gd name="T69" fmla="*/ 2147483647 h 445"/>
                    <a:gd name="T70" fmla="*/ 2147483647 w 933"/>
                    <a:gd name="T71" fmla="*/ 2147483647 h 445"/>
                    <a:gd name="T72" fmla="*/ 2147483647 w 933"/>
                    <a:gd name="T73" fmla="*/ 2147483647 h 445"/>
                    <a:gd name="T74" fmla="*/ 2147483647 w 933"/>
                    <a:gd name="T75" fmla="*/ 2147483647 h 445"/>
                    <a:gd name="T76" fmla="*/ 2147483647 w 933"/>
                    <a:gd name="T77" fmla="*/ 2147483647 h 445"/>
                    <a:gd name="T78" fmla="*/ 2147483647 w 933"/>
                    <a:gd name="T79" fmla="*/ 2147483647 h 445"/>
                    <a:gd name="T80" fmla="*/ 2147483647 w 933"/>
                    <a:gd name="T81" fmla="*/ 2147483647 h 445"/>
                    <a:gd name="T82" fmla="*/ 2147483647 w 933"/>
                    <a:gd name="T83" fmla="*/ 2147483647 h 445"/>
                    <a:gd name="T84" fmla="*/ 2147483647 w 933"/>
                    <a:gd name="T85" fmla="*/ 2147483647 h 445"/>
                    <a:gd name="T86" fmla="*/ 2147483647 w 933"/>
                    <a:gd name="T87" fmla="*/ 2147483647 h 445"/>
                    <a:gd name="T88" fmla="*/ 2147483647 w 933"/>
                    <a:gd name="T89" fmla="*/ 2147483647 h 445"/>
                    <a:gd name="T90" fmla="*/ 2147483647 w 933"/>
                    <a:gd name="T91" fmla="*/ 2147483647 h 445"/>
                    <a:gd name="T92" fmla="*/ 2147483647 w 933"/>
                    <a:gd name="T93" fmla="*/ 2147483647 h 445"/>
                    <a:gd name="T94" fmla="*/ 2147483647 w 933"/>
                    <a:gd name="T95" fmla="*/ 2147483647 h 445"/>
                    <a:gd name="T96" fmla="*/ 2147483647 w 933"/>
                    <a:gd name="T97" fmla="*/ 2147483647 h 445"/>
                    <a:gd name="T98" fmla="*/ 2147483647 w 933"/>
                    <a:gd name="T99" fmla="*/ 2147483647 h 445"/>
                    <a:gd name="T100" fmla="*/ 2147483647 w 933"/>
                    <a:gd name="T101" fmla="*/ 2147483647 h 445"/>
                    <a:gd name="T102" fmla="*/ 2147483647 w 933"/>
                    <a:gd name="T103" fmla="*/ 2147483647 h 445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33"/>
                    <a:gd name="T157" fmla="*/ 0 h 445"/>
                    <a:gd name="T158" fmla="*/ 933 w 933"/>
                    <a:gd name="T159" fmla="*/ 445 h 445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33" h="445">
                      <a:moveTo>
                        <a:pt x="933" y="35"/>
                      </a:moveTo>
                      <a:lnTo>
                        <a:pt x="916" y="35"/>
                      </a:lnTo>
                      <a:lnTo>
                        <a:pt x="881" y="70"/>
                      </a:lnTo>
                      <a:lnTo>
                        <a:pt x="803" y="79"/>
                      </a:lnTo>
                      <a:lnTo>
                        <a:pt x="776" y="105"/>
                      </a:lnTo>
                      <a:lnTo>
                        <a:pt x="768" y="114"/>
                      </a:lnTo>
                      <a:lnTo>
                        <a:pt x="724" y="122"/>
                      </a:lnTo>
                      <a:lnTo>
                        <a:pt x="715" y="122"/>
                      </a:lnTo>
                      <a:lnTo>
                        <a:pt x="707" y="131"/>
                      </a:lnTo>
                      <a:lnTo>
                        <a:pt x="663" y="148"/>
                      </a:lnTo>
                      <a:lnTo>
                        <a:pt x="646" y="140"/>
                      </a:lnTo>
                      <a:lnTo>
                        <a:pt x="672" y="131"/>
                      </a:lnTo>
                      <a:lnTo>
                        <a:pt x="681" y="122"/>
                      </a:lnTo>
                      <a:lnTo>
                        <a:pt x="672" y="105"/>
                      </a:lnTo>
                      <a:lnTo>
                        <a:pt x="654" y="105"/>
                      </a:lnTo>
                      <a:lnTo>
                        <a:pt x="672" y="87"/>
                      </a:lnTo>
                      <a:lnTo>
                        <a:pt x="672" y="70"/>
                      </a:lnTo>
                      <a:lnTo>
                        <a:pt x="654" y="79"/>
                      </a:lnTo>
                      <a:lnTo>
                        <a:pt x="619" y="96"/>
                      </a:lnTo>
                      <a:lnTo>
                        <a:pt x="611" y="131"/>
                      </a:lnTo>
                      <a:lnTo>
                        <a:pt x="593" y="140"/>
                      </a:lnTo>
                      <a:lnTo>
                        <a:pt x="585" y="131"/>
                      </a:lnTo>
                      <a:lnTo>
                        <a:pt x="585" y="114"/>
                      </a:lnTo>
                      <a:lnTo>
                        <a:pt x="602" y="96"/>
                      </a:lnTo>
                      <a:lnTo>
                        <a:pt x="602" y="79"/>
                      </a:lnTo>
                      <a:lnTo>
                        <a:pt x="611" y="79"/>
                      </a:lnTo>
                      <a:lnTo>
                        <a:pt x="637" y="61"/>
                      </a:lnTo>
                      <a:lnTo>
                        <a:pt x="654" y="61"/>
                      </a:lnTo>
                      <a:lnTo>
                        <a:pt x="672" y="61"/>
                      </a:lnTo>
                      <a:lnTo>
                        <a:pt x="663" y="53"/>
                      </a:lnTo>
                      <a:lnTo>
                        <a:pt x="619" y="53"/>
                      </a:lnTo>
                      <a:lnTo>
                        <a:pt x="628" y="35"/>
                      </a:lnTo>
                      <a:lnTo>
                        <a:pt x="585" y="53"/>
                      </a:lnTo>
                      <a:lnTo>
                        <a:pt x="567" y="53"/>
                      </a:lnTo>
                      <a:lnTo>
                        <a:pt x="567" y="35"/>
                      </a:lnTo>
                      <a:lnTo>
                        <a:pt x="602" y="35"/>
                      </a:lnTo>
                      <a:lnTo>
                        <a:pt x="585" y="18"/>
                      </a:lnTo>
                      <a:lnTo>
                        <a:pt x="576" y="26"/>
                      </a:lnTo>
                      <a:lnTo>
                        <a:pt x="550" y="18"/>
                      </a:lnTo>
                      <a:lnTo>
                        <a:pt x="550" y="0"/>
                      </a:lnTo>
                      <a:lnTo>
                        <a:pt x="532" y="0"/>
                      </a:lnTo>
                      <a:lnTo>
                        <a:pt x="532" y="9"/>
                      </a:lnTo>
                      <a:lnTo>
                        <a:pt x="114" y="9"/>
                      </a:lnTo>
                      <a:lnTo>
                        <a:pt x="114" y="44"/>
                      </a:lnTo>
                      <a:lnTo>
                        <a:pt x="105" y="26"/>
                      </a:lnTo>
                      <a:lnTo>
                        <a:pt x="79" y="26"/>
                      </a:lnTo>
                      <a:lnTo>
                        <a:pt x="79" y="53"/>
                      </a:lnTo>
                      <a:lnTo>
                        <a:pt x="35" y="105"/>
                      </a:lnTo>
                      <a:lnTo>
                        <a:pt x="18" y="148"/>
                      </a:lnTo>
                      <a:lnTo>
                        <a:pt x="0" y="166"/>
                      </a:lnTo>
                      <a:lnTo>
                        <a:pt x="0" y="201"/>
                      </a:lnTo>
                      <a:lnTo>
                        <a:pt x="9" y="201"/>
                      </a:lnTo>
                      <a:lnTo>
                        <a:pt x="9" y="209"/>
                      </a:lnTo>
                      <a:lnTo>
                        <a:pt x="9" y="262"/>
                      </a:lnTo>
                      <a:lnTo>
                        <a:pt x="0" y="270"/>
                      </a:lnTo>
                      <a:lnTo>
                        <a:pt x="44" y="297"/>
                      </a:lnTo>
                      <a:lnTo>
                        <a:pt x="53" y="314"/>
                      </a:lnTo>
                      <a:lnTo>
                        <a:pt x="105" y="314"/>
                      </a:lnTo>
                      <a:lnTo>
                        <a:pt x="166" y="332"/>
                      </a:lnTo>
                      <a:lnTo>
                        <a:pt x="201" y="323"/>
                      </a:lnTo>
                      <a:lnTo>
                        <a:pt x="227" y="323"/>
                      </a:lnTo>
                      <a:lnTo>
                        <a:pt x="253" y="375"/>
                      </a:lnTo>
                      <a:lnTo>
                        <a:pt x="271" y="375"/>
                      </a:lnTo>
                      <a:lnTo>
                        <a:pt x="271" y="366"/>
                      </a:lnTo>
                      <a:lnTo>
                        <a:pt x="288" y="358"/>
                      </a:lnTo>
                      <a:lnTo>
                        <a:pt x="314" y="384"/>
                      </a:lnTo>
                      <a:lnTo>
                        <a:pt x="323" y="419"/>
                      </a:lnTo>
                      <a:lnTo>
                        <a:pt x="332" y="436"/>
                      </a:lnTo>
                      <a:lnTo>
                        <a:pt x="340" y="419"/>
                      </a:lnTo>
                      <a:lnTo>
                        <a:pt x="340" y="401"/>
                      </a:lnTo>
                      <a:lnTo>
                        <a:pt x="419" y="358"/>
                      </a:lnTo>
                      <a:lnTo>
                        <a:pt x="428" y="366"/>
                      </a:lnTo>
                      <a:lnTo>
                        <a:pt x="445" y="366"/>
                      </a:lnTo>
                      <a:lnTo>
                        <a:pt x="454" y="375"/>
                      </a:lnTo>
                      <a:lnTo>
                        <a:pt x="480" y="366"/>
                      </a:lnTo>
                      <a:lnTo>
                        <a:pt x="471" y="349"/>
                      </a:lnTo>
                      <a:lnTo>
                        <a:pt x="576" y="358"/>
                      </a:lnTo>
                      <a:lnTo>
                        <a:pt x="585" y="375"/>
                      </a:lnTo>
                      <a:lnTo>
                        <a:pt x="585" y="401"/>
                      </a:lnTo>
                      <a:lnTo>
                        <a:pt x="593" y="419"/>
                      </a:lnTo>
                      <a:lnTo>
                        <a:pt x="593" y="436"/>
                      </a:lnTo>
                      <a:lnTo>
                        <a:pt x="602" y="445"/>
                      </a:lnTo>
                      <a:lnTo>
                        <a:pt x="611" y="445"/>
                      </a:lnTo>
                      <a:lnTo>
                        <a:pt x="628" y="410"/>
                      </a:lnTo>
                      <a:lnTo>
                        <a:pt x="628" y="375"/>
                      </a:lnTo>
                      <a:lnTo>
                        <a:pt x="619" y="332"/>
                      </a:lnTo>
                      <a:lnTo>
                        <a:pt x="689" y="279"/>
                      </a:lnTo>
                      <a:lnTo>
                        <a:pt x="715" y="270"/>
                      </a:lnTo>
                      <a:lnTo>
                        <a:pt x="733" y="244"/>
                      </a:lnTo>
                      <a:lnTo>
                        <a:pt x="724" y="227"/>
                      </a:lnTo>
                      <a:lnTo>
                        <a:pt x="742" y="218"/>
                      </a:lnTo>
                      <a:lnTo>
                        <a:pt x="724" y="201"/>
                      </a:lnTo>
                      <a:lnTo>
                        <a:pt x="742" y="183"/>
                      </a:lnTo>
                      <a:lnTo>
                        <a:pt x="750" y="209"/>
                      </a:lnTo>
                      <a:lnTo>
                        <a:pt x="759" y="201"/>
                      </a:lnTo>
                      <a:lnTo>
                        <a:pt x="759" y="175"/>
                      </a:lnTo>
                      <a:lnTo>
                        <a:pt x="768" y="183"/>
                      </a:lnTo>
                      <a:lnTo>
                        <a:pt x="794" y="166"/>
                      </a:lnTo>
                      <a:lnTo>
                        <a:pt x="794" y="157"/>
                      </a:lnTo>
                      <a:lnTo>
                        <a:pt x="855" y="140"/>
                      </a:lnTo>
                      <a:lnTo>
                        <a:pt x="846" y="131"/>
                      </a:lnTo>
                      <a:lnTo>
                        <a:pt x="864" y="105"/>
                      </a:lnTo>
                      <a:lnTo>
                        <a:pt x="925" y="87"/>
                      </a:lnTo>
                      <a:lnTo>
                        <a:pt x="925" y="53"/>
                      </a:lnTo>
                      <a:lnTo>
                        <a:pt x="933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4" name="Freeform 22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5" name="Freeform 23"/>
                <p:cNvSpPr>
                  <a:spLocks/>
                </p:cNvSpPr>
                <p:nvPr/>
              </p:nvSpPr>
              <p:spPr bwMode="auto">
                <a:xfrm>
                  <a:off x="2784476" y="1655763"/>
                  <a:ext cx="581025" cy="152400"/>
                </a:xfrm>
                <a:custGeom>
                  <a:avLst/>
                  <a:gdLst>
                    <a:gd name="T0" fmla="*/ 2147483647 w 366"/>
                    <a:gd name="T1" fmla="*/ 2147483647 h 96"/>
                    <a:gd name="T2" fmla="*/ 2147483647 w 366"/>
                    <a:gd name="T3" fmla="*/ 0 h 96"/>
                    <a:gd name="T4" fmla="*/ 2147483647 w 366"/>
                    <a:gd name="T5" fmla="*/ 0 h 96"/>
                    <a:gd name="T6" fmla="*/ 2147483647 w 366"/>
                    <a:gd name="T7" fmla="*/ 2147483647 h 96"/>
                    <a:gd name="T8" fmla="*/ 2147483647 w 366"/>
                    <a:gd name="T9" fmla="*/ 0 h 96"/>
                    <a:gd name="T10" fmla="*/ 2147483647 w 366"/>
                    <a:gd name="T11" fmla="*/ 2147483647 h 96"/>
                    <a:gd name="T12" fmla="*/ 2147483647 w 366"/>
                    <a:gd name="T13" fmla="*/ 0 h 96"/>
                    <a:gd name="T14" fmla="*/ 2147483647 w 366"/>
                    <a:gd name="T15" fmla="*/ 2147483647 h 96"/>
                    <a:gd name="T16" fmla="*/ 2147483647 w 366"/>
                    <a:gd name="T17" fmla="*/ 2147483647 h 96"/>
                    <a:gd name="T18" fmla="*/ 2147483647 w 366"/>
                    <a:gd name="T19" fmla="*/ 2147483647 h 96"/>
                    <a:gd name="T20" fmla="*/ 2147483647 w 366"/>
                    <a:gd name="T21" fmla="*/ 2147483647 h 96"/>
                    <a:gd name="T22" fmla="*/ 2147483647 w 366"/>
                    <a:gd name="T23" fmla="*/ 2147483647 h 96"/>
                    <a:gd name="T24" fmla="*/ 2147483647 w 366"/>
                    <a:gd name="T25" fmla="*/ 2147483647 h 96"/>
                    <a:gd name="T26" fmla="*/ 2147483647 w 366"/>
                    <a:gd name="T27" fmla="*/ 2147483647 h 96"/>
                    <a:gd name="T28" fmla="*/ 2147483647 w 366"/>
                    <a:gd name="T29" fmla="*/ 2147483647 h 96"/>
                    <a:gd name="T30" fmla="*/ 2147483647 w 366"/>
                    <a:gd name="T31" fmla="*/ 2147483647 h 96"/>
                    <a:gd name="T32" fmla="*/ 2147483647 w 366"/>
                    <a:gd name="T33" fmla="*/ 2147483647 h 96"/>
                    <a:gd name="T34" fmla="*/ 2147483647 w 366"/>
                    <a:gd name="T35" fmla="*/ 2147483647 h 96"/>
                    <a:gd name="T36" fmla="*/ 2147483647 w 366"/>
                    <a:gd name="T37" fmla="*/ 2147483647 h 96"/>
                    <a:gd name="T38" fmla="*/ 2147483647 w 366"/>
                    <a:gd name="T39" fmla="*/ 2147483647 h 96"/>
                    <a:gd name="T40" fmla="*/ 2147483647 w 366"/>
                    <a:gd name="T41" fmla="*/ 2147483647 h 96"/>
                    <a:gd name="T42" fmla="*/ 2147483647 w 366"/>
                    <a:gd name="T43" fmla="*/ 2147483647 h 96"/>
                    <a:gd name="T44" fmla="*/ 2147483647 w 366"/>
                    <a:gd name="T45" fmla="*/ 2147483647 h 96"/>
                    <a:gd name="T46" fmla="*/ 2147483647 w 366"/>
                    <a:gd name="T47" fmla="*/ 2147483647 h 96"/>
                    <a:gd name="T48" fmla="*/ 0 w 366"/>
                    <a:gd name="T49" fmla="*/ 2147483647 h 96"/>
                    <a:gd name="T50" fmla="*/ 2147483647 w 366"/>
                    <a:gd name="T51" fmla="*/ 2147483647 h 96"/>
                    <a:gd name="T52" fmla="*/ 2147483647 w 366"/>
                    <a:gd name="T53" fmla="*/ 2147483647 h 96"/>
                    <a:gd name="T54" fmla="*/ 2147483647 w 366"/>
                    <a:gd name="T55" fmla="*/ 2147483647 h 96"/>
                    <a:gd name="T56" fmla="*/ 2147483647 w 366"/>
                    <a:gd name="T57" fmla="*/ 2147483647 h 96"/>
                    <a:gd name="T58" fmla="*/ 2147483647 w 366"/>
                    <a:gd name="T59" fmla="*/ 2147483647 h 96"/>
                    <a:gd name="T60" fmla="*/ 2147483647 w 366"/>
                    <a:gd name="T61" fmla="*/ 2147483647 h 96"/>
                    <a:gd name="T62" fmla="*/ 2147483647 w 366"/>
                    <a:gd name="T63" fmla="*/ 2147483647 h 96"/>
                    <a:gd name="T64" fmla="*/ 2147483647 w 366"/>
                    <a:gd name="T65" fmla="*/ 2147483647 h 96"/>
                    <a:gd name="T66" fmla="*/ 2147483647 w 366"/>
                    <a:gd name="T67" fmla="*/ 2147483647 h 96"/>
                    <a:gd name="T68" fmla="*/ 2147483647 w 366"/>
                    <a:gd name="T69" fmla="*/ 2147483647 h 96"/>
                    <a:gd name="T70" fmla="*/ 2147483647 w 366"/>
                    <a:gd name="T71" fmla="*/ 2147483647 h 96"/>
                    <a:gd name="T72" fmla="*/ 2147483647 w 366"/>
                    <a:gd name="T73" fmla="*/ 2147483647 h 96"/>
                    <a:gd name="T74" fmla="*/ 2147483647 w 366"/>
                    <a:gd name="T75" fmla="*/ 2147483647 h 96"/>
                    <a:gd name="T76" fmla="*/ 2147483647 w 366"/>
                    <a:gd name="T77" fmla="*/ 2147483647 h 96"/>
                    <a:gd name="T78" fmla="*/ 2147483647 w 366"/>
                    <a:gd name="T79" fmla="*/ 2147483647 h 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6"/>
                    <a:gd name="T121" fmla="*/ 0 h 96"/>
                    <a:gd name="T122" fmla="*/ 366 w 366"/>
                    <a:gd name="T123" fmla="*/ 96 h 9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6" h="96">
                      <a:moveTo>
                        <a:pt x="296" y="18"/>
                      </a:moveTo>
                      <a:lnTo>
                        <a:pt x="366" y="0"/>
                      </a:lnTo>
                      <a:lnTo>
                        <a:pt x="288" y="0"/>
                      </a:lnTo>
                      <a:lnTo>
                        <a:pt x="261" y="9"/>
                      </a:lnTo>
                      <a:lnTo>
                        <a:pt x="244" y="0"/>
                      </a:lnTo>
                      <a:lnTo>
                        <a:pt x="227" y="9"/>
                      </a:lnTo>
                      <a:lnTo>
                        <a:pt x="192" y="0"/>
                      </a:lnTo>
                      <a:lnTo>
                        <a:pt x="165" y="9"/>
                      </a:lnTo>
                      <a:lnTo>
                        <a:pt x="148" y="18"/>
                      </a:lnTo>
                      <a:lnTo>
                        <a:pt x="122" y="18"/>
                      </a:lnTo>
                      <a:lnTo>
                        <a:pt x="61" y="27"/>
                      </a:lnTo>
                      <a:lnTo>
                        <a:pt x="104" y="35"/>
                      </a:lnTo>
                      <a:lnTo>
                        <a:pt x="192" y="27"/>
                      </a:lnTo>
                      <a:lnTo>
                        <a:pt x="183" y="35"/>
                      </a:lnTo>
                      <a:lnTo>
                        <a:pt x="131" y="44"/>
                      </a:lnTo>
                      <a:lnTo>
                        <a:pt x="139" y="44"/>
                      </a:lnTo>
                      <a:lnTo>
                        <a:pt x="96" y="44"/>
                      </a:lnTo>
                      <a:lnTo>
                        <a:pt x="113" y="53"/>
                      </a:lnTo>
                      <a:lnTo>
                        <a:pt x="78" y="53"/>
                      </a:lnTo>
                      <a:lnTo>
                        <a:pt x="52" y="53"/>
                      </a:lnTo>
                      <a:lnTo>
                        <a:pt x="70" y="53"/>
                      </a:lnTo>
                      <a:lnTo>
                        <a:pt x="70" y="70"/>
                      </a:lnTo>
                      <a:lnTo>
                        <a:pt x="43" y="70"/>
                      </a:lnTo>
                      <a:lnTo>
                        <a:pt x="17" y="70"/>
                      </a:lnTo>
                      <a:lnTo>
                        <a:pt x="0" y="79"/>
                      </a:lnTo>
                      <a:lnTo>
                        <a:pt x="70" y="79"/>
                      </a:lnTo>
                      <a:lnTo>
                        <a:pt x="96" y="96"/>
                      </a:lnTo>
                      <a:lnTo>
                        <a:pt x="122" y="79"/>
                      </a:lnTo>
                      <a:lnTo>
                        <a:pt x="96" y="70"/>
                      </a:lnTo>
                      <a:lnTo>
                        <a:pt x="122" y="70"/>
                      </a:lnTo>
                      <a:lnTo>
                        <a:pt x="148" y="70"/>
                      </a:lnTo>
                      <a:lnTo>
                        <a:pt x="174" y="61"/>
                      </a:lnTo>
                      <a:lnTo>
                        <a:pt x="148" y="53"/>
                      </a:lnTo>
                      <a:lnTo>
                        <a:pt x="174" y="44"/>
                      </a:lnTo>
                      <a:lnTo>
                        <a:pt x="174" y="53"/>
                      </a:lnTo>
                      <a:lnTo>
                        <a:pt x="209" y="44"/>
                      </a:lnTo>
                      <a:lnTo>
                        <a:pt x="261" y="35"/>
                      </a:lnTo>
                      <a:lnTo>
                        <a:pt x="270" y="27"/>
                      </a:lnTo>
                      <a:lnTo>
                        <a:pt x="288" y="35"/>
                      </a:lnTo>
                      <a:lnTo>
                        <a:pt x="2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6" name="Freeform 24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7" name="Freeform 25"/>
                <p:cNvSpPr>
                  <a:spLocks/>
                </p:cNvSpPr>
                <p:nvPr/>
              </p:nvSpPr>
              <p:spPr bwMode="auto">
                <a:xfrm>
                  <a:off x="2755901" y="1684338"/>
                  <a:ext cx="152400" cy="68263"/>
                </a:xfrm>
                <a:custGeom>
                  <a:avLst/>
                  <a:gdLst>
                    <a:gd name="T0" fmla="*/ 0 w 96"/>
                    <a:gd name="T1" fmla="*/ 2147483647 h 43"/>
                    <a:gd name="T2" fmla="*/ 2147483647 w 96"/>
                    <a:gd name="T3" fmla="*/ 2147483647 h 43"/>
                    <a:gd name="T4" fmla="*/ 2147483647 w 96"/>
                    <a:gd name="T5" fmla="*/ 2147483647 h 43"/>
                    <a:gd name="T6" fmla="*/ 2147483647 w 96"/>
                    <a:gd name="T7" fmla="*/ 2147483647 h 43"/>
                    <a:gd name="T8" fmla="*/ 2147483647 w 96"/>
                    <a:gd name="T9" fmla="*/ 2147483647 h 43"/>
                    <a:gd name="T10" fmla="*/ 2147483647 w 96"/>
                    <a:gd name="T11" fmla="*/ 2147483647 h 43"/>
                    <a:gd name="T12" fmla="*/ 2147483647 w 96"/>
                    <a:gd name="T13" fmla="*/ 2147483647 h 43"/>
                    <a:gd name="T14" fmla="*/ 2147483647 w 96"/>
                    <a:gd name="T15" fmla="*/ 2147483647 h 43"/>
                    <a:gd name="T16" fmla="*/ 2147483647 w 96"/>
                    <a:gd name="T17" fmla="*/ 2147483647 h 43"/>
                    <a:gd name="T18" fmla="*/ 2147483647 w 96"/>
                    <a:gd name="T19" fmla="*/ 0 h 43"/>
                    <a:gd name="T20" fmla="*/ 0 w 96"/>
                    <a:gd name="T21" fmla="*/ 2147483647 h 4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6"/>
                    <a:gd name="T34" fmla="*/ 0 h 43"/>
                    <a:gd name="T35" fmla="*/ 96 w 96"/>
                    <a:gd name="T36" fmla="*/ 43 h 4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6" h="43">
                      <a:moveTo>
                        <a:pt x="0" y="17"/>
                      </a:moveTo>
                      <a:lnTo>
                        <a:pt x="27" y="26"/>
                      </a:lnTo>
                      <a:lnTo>
                        <a:pt x="9" y="35"/>
                      </a:lnTo>
                      <a:lnTo>
                        <a:pt x="9" y="43"/>
                      </a:lnTo>
                      <a:lnTo>
                        <a:pt x="35" y="43"/>
                      </a:lnTo>
                      <a:lnTo>
                        <a:pt x="44" y="35"/>
                      </a:lnTo>
                      <a:lnTo>
                        <a:pt x="96" y="26"/>
                      </a:lnTo>
                      <a:lnTo>
                        <a:pt x="61" y="17"/>
                      </a:lnTo>
                      <a:lnTo>
                        <a:pt x="53" y="9"/>
                      </a:lnTo>
                      <a:lnTo>
                        <a:pt x="27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8" name="Freeform 26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09" name="Freeform 27"/>
                <p:cNvSpPr>
                  <a:spLocks/>
                </p:cNvSpPr>
                <p:nvPr/>
              </p:nvSpPr>
              <p:spPr bwMode="auto">
                <a:xfrm>
                  <a:off x="2549526" y="1725613"/>
                  <a:ext cx="82550" cy="41275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2147483647 w 52"/>
                    <a:gd name="T7" fmla="*/ 0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2147483647 w 52"/>
                    <a:gd name="T15" fmla="*/ 2147483647 h 26"/>
                    <a:gd name="T16" fmla="*/ 2147483647 w 52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6"/>
                    <a:gd name="T29" fmla="*/ 52 w 52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6">
                      <a:moveTo>
                        <a:pt x="52" y="26"/>
                      </a:moveTo>
                      <a:lnTo>
                        <a:pt x="52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17"/>
                      </a:lnTo>
                      <a:lnTo>
                        <a:pt x="17" y="17"/>
                      </a:lnTo>
                      <a:lnTo>
                        <a:pt x="17" y="26"/>
                      </a:lnTo>
                      <a:lnTo>
                        <a:pt x="34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0" name="Freeform 28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1" name="Freeform 29"/>
                <p:cNvSpPr>
                  <a:spLocks/>
                </p:cNvSpPr>
                <p:nvPr/>
              </p:nvSpPr>
              <p:spPr bwMode="auto">
                <a:xfrm>
                  <a:off x="2659064" y="1739901"/>
                  <a:ext cx="69850" cy="26988"/>
                </a:xfrm>
                <a:custGeom>
                  <a:avLst/>
                  <a:gdLst>
                    <a:gd name="T0" fmla="*/ 0 w 44"/>
                    <a:gd name="T1" fmla="*/ 0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0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35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2" name="Freeform 30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3" name="Freeform 31"/>
                <p:cNvSpPr>
                  <a:spLocks/>
                </p:cNvSpPr>
                <p:nvPr/>
              </p:nvSpPr>
              <p:spPr bwMode="auto">
                <a:xfrm>
                  <a:off x="2687639" y="1795463"/>
                  <a:ext cx="234950" cy="41275"/>
                </a:xfrm>
                <a:custGeom>
                  <a:avLst/>
                  <a:gdLst>
                    <a:gd name="T0" fmla="*/ 2147483647 w 148"/>
                    <a:gd name="T1" fmla="*/ 0 h 26"/>
                    <a:gd name="T2" fmla="*/ 2147483647 w 148"/>
                    <a:gd name="T3" fmla="*/ 0 h 26"/>
                    <a:gd name="T4" fmla="*/ 2147483647 w 148"/>
                    <a:gd name="T5" fmla="*/ 2147483647 h 26"/>
                    <a:gd name="T6" fmla="*/ 0 w 148"/>
                    <a:gd name="T7" fmla="*/ 2147483647 h 26"/>
                    <a:gd name="T8" fmla="*/ 2147483647 w 148"/>
                    <a:gd name="T9" fmla="*/ 2147483647 h 26"/>
                    <a:gd name="T10" fmla="*/ 2147483647 w 148"/>
                    <a:gd name="T11" fmla="*/ 2147483647 h 26"/>
                    <a:gd name="T12" fmla="*/ 2147483647 w 148"/>
                    <a:gd name="T13" fmla="*/ 2147483647 h 26"/>
                    <a:gd name="T14" fmla="*/ 2147483647 w 148"/>
                    <a:gd name="T15" fmla="*/ 2147483647 h 26"/>
                    <a:gd name="T16" fmla="*/ 2147483647 w 148"/>
                    <a:gd name="T17" fmla="*/ 0 h 26"/>
                    <a:gd name="T18" fmla="*/ 2147483647 w 148"/>
                    <a:gd name="T19" fmla="*/ 2147483647 h 26"/>
                    <a:gd name="T20" fmla="*/ 2147483647 w 148"/>
                    <a:gd name="T21" fmla="*/ 2147483647 h 26"/>
                    <a:gd name="T22" fmla="*/ 2147483647 w 148"/>
                    <a:gd name="T23" fmla="*/ 0 h 2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8"/>
                    <a:gd name="T37" fmla="*/ 0 h 26"/>
                    <a:gd name="T38" fmla="*/ 148 w 148"/>
                    <a:gd name="T39" fmla="*/ 26 h 2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8" h="26">
                      <a:moveTo>
                        <a:pt x="26" y="0"/>
                      </a:move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26"/>
                      </a:lnTo>
                      <a:lnTo>
                        <a:pt x="113" y="26"/>
                      </a:lnTo>
                      <a:lnTo>
                        <a:pt x="122" y="17"/>
                      </a:lnTo>
                      <a:lnTo>
                        <a:pt x="148" y="26"/>
                      </a:lnTo>
                      <a:lnTo>
                        <a:pt x="139" y="8"/>
                      </a:lnTo>
                      <a:lnTo>
                        <a:pt x="131" y="0"/>
                      </a:lnTo>
                      <a:lnTo>
                        <a:pt x="87" y="8"/>
                      </a:lnTo>
                      <a:lnTo>
                        <a:pt x="35" y="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4" name="Freeform 32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5" name="Freeform 33"/>
                <p:cNvSpPr>
                  <a:spLocks/>
                </p:cNvSpPr>
                <p:nvPr/>
              </p:nvSpPr>
              <p:spPr bwMode="auto">
                <a:xfrm>
                  <a:off x="2603501" y="1808163"/>
                  <a:ext cx="55563" cy="28575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2147483647 w 35"/>
                    <a:gd name="T5" fmla="*/ 0 h 18"/>
                    <a:gd name="T6" fmla="*/ 0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18"/>
                      </a:moveTo>
                      <a:lnTo>
                        <a:pt x="35" y="0"/>
                      </a:lnTo>
                      <a:lnTo>
                        <a:pt x="27" y="0"/>
                      </a:lnTo>
                      <a:lnTo>
                        <a:pt x="0" y="18"/>
                      </a:lnTo>
                      <a:lnTo>
                        <a:pt x="35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6" name="Freeform 34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7" name="Freeform 35"/>
                <p:cNvSpPr>
                  <a:spLocks/>
                </p:cNvSpPr>
                <p:nvPr/>
              </p:nvSpPr>
              <p:spPr bwMode="auto">
                <a:xfrm>
                  <a:off x="2632076" y="1766888"/>
                  <a:ext cx="55563" cy="41275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0 w 35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26"/>
                    <a:gd name="T17" fmla="*/ 35 w 35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26">
                      <a:moveTo>
                        <a:pt x="0" y="9"/>
                      </a:moveTo>
                      <a:lnTo>
                        <a:pt x="26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8" name="Freeform 36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19" name="Freeform 37"/>
                <p:cNvSpPr>
                  <a:spLocks/>
                </p:cNvSpPr>
                <p:nvPr/>
              </p:nvSpPr>
              <p:spPr bwMode="auto">
                <a:xfrm>
                  <a:off x="2562226" y="1849438"/>
                  <a:ext cx="125413" cy="55563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2147483647 w 79"/>
                    <a:gd name="T7" fmla="*/ 2147483647 h 35"/>
                    <a:gd name="T8" fmla="*/ 0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2147483647 w 79"/>
                    <a:gd name="T15" fmla="*/ 2147483647 h 3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9"/>
                    <a:gd name="T25" fmla="*/ 0 h 35"/>
                    <a:gd name="T26" fmla="*/ 79 w 79"/>
                    <a:gd name="T27" fmla="*/ 35 h 3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9" h="35">
                      <a:moveTo>
                        <a:pt x="44" y="18"/>
                      </a:moveTo>
                      <a:lnTo>
                        <a:pt x="79" y="0"/>
                      </a:lnTo>
                      <a:lnTo>
                        <a:pt x="35" y="0"/>
                      </a:lnTo>
                      <a:lnTo>
                        <a:pt x="9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26" y="18"/>
                      </a:lnTo>
                      <a:lnTo>
                        <a:pt x="44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0" name="Freeform 38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1" name="Freeform 39"/>
                <p:cNvSpPr>
                  <a:spLocks noEditPoints="1"/>
                </p:cNvSpPr>
                <p:nvPr/>
              </p:nvSpPr>
              <p:spPr bwMode="auto">
                <a:xfrm>
                  <a:off x="2646364" y="1849438"/>
                  <a:ext cx="469900" cy="304800"/>
                </a:xfrm>
                <a:custGeom>
                  <a:avLst/>
                  <a:gdLst>
                    <a:gd name="T0" fmla="*/ 2147483647 w 296"/>
                    <a:gd name="T1" fmla="*/ 2147483647 h 192"/>
                    <a:gd name="T2" fmla="*/ 2147483647 w 296"/>
                    <a:gd name="T3" fmla="*/ 2147483647 h 192"/>
                    <a:gd name="T4" fmla="*/ 2147483647 w 296"/>
                    <a:gd name="T5" fmla="*/ 2147483647 h 192"/>
                    <a:gd name="T6" fmla="*/ 2147483647 w 296"/>
                    <a:gd name="T7" fmla="*/ 2147483647 h 192"/>
                    <a:gd name="T8" fmla="*/ 2147483647 w 296"/>
                    <a:gd name="T9" fmla="*/ 2147483647 h 192"/>
                    <a:gd name="T10" fmla="*/ 2147483647 w 296"/>
                    <a:gd name="T11" fmla="*/ 2147483647 h 192"/>
                    <a:gd name="T12" fmla="*/ 2147483647 w 296"/>
                    <a:gd name="T13" fmla="*/ 2147483647 h 192"/>
                    <a:gd name="T14" fmla="*/ 0 w 296"/>
                    <a:gd name="T15" fmla="*/ 2147483647 h 192"/>
                    <a:gd name="T16" fmla="*/ 2147483647 w 296"/>
                    <a:gd name="T17" fmla="*/ 2147483647 h 192"/>
                    <a:gd name="T18" fmla="*/ 2147483647 w 296"/>
                    <a:gd name="T19" fmla="*/ 2147483647 h 192"/>
                    <a:gd name="T20" fmla="*/ 2147483647 w 296"/>
                    <a:gd name="T21" fmla="*/ 2147483647 h 192"/>
                    <a:gd name="T22" fmla="*/ 2147483647 w 296"/>
                    <a:gd name="T23" fmla="*/ 2147483647 h 192"/>
                    <a:gd name="T24" fmla="*/ 2147483647 w 296"/>
                    <a:gd name="T25" fmla="*/ 2147483647 h 192"/>
                    <a:gd name="T26" fmla="*/ 2147483647 w 296"/>
                    <a:gd name="T27" fmla="*/ 2147483647 h 192"/>
                    <a:gd name="T28" fmla="*/ 2147483647 w 296"/>
                    <a:gd name="T29" fmla="*/ 2147483647 h 192"/>
                    <a:gd name="T30" fmla="*/ 2147483647 w 296"/>
                    <a:gd name="T31" fmla="*/ 2147483647 h 192"/>
                    <a:gd name="T32" fmla="*/ 2147483647 w 296"/>
                    <a:gd name="T33" fmla="*/ 2147483647 h 192"/>
                    <a:gd name="T34" fmla="*/ 2147483647 w 296"/>
                    <a:gd name="T35" fmla="*/ 2147483647 h 192"/>
                    <a:gd name="T36" fmla="*/ 2147483647 w 296"/>
                    <a:gd name="T37" fmla="*/ 2147483647 h 192"/>
                    <a:gd name="T38" fmla="*/ 2147483647 w 296"/>
                    <a:gd name="T39" fmla="*/ 2147483647 h 192"/>
                    <a:gd name="T40" fmla="*/ 2147483647 w 296"/>
                    <a:gd name="T41" fmla="*/ 2147483647 h 192"/>
                    <a:gd name="T42" fmla="*/ 2147483647 w 296"/>
                    <a:gd name="T43" fmla="*/ 2147483647 h 192"/>
                    <a:gd name="T44" fmla="*/ 2147483647 w 296"/>
                    <a:gd name="T45" fmla="*/ 2147483647 h 192"/>
                    <a:gd name="T46" fmla="*/ 2147483647 w 296"/>
                    <a:gd name="T47" fmla="*/ 2147483647 h 192"/>
                    <a:gd name="T48" fmla="*/ 2147483647 w 296"/>
                    <a:gd name="T49" fmla="*/ 2147483647 h 192"/>
                    <a:gd name="T50" fmla="*/ 2147483647 w 296"/>
                    <a:gd name="T51" fmla="*/ 2147483647 h 192"/>
                    <a:gd name="T52" fmla="*/ 2147483647 w 296"/>
                    <a:gd name="T53" fmla="*/ 2147483647 h 192"/>
                    <a:gd name="T54" fmla="*/ 2147483647 w 296"/>
                    <a:gd name="T55" fmla="*/ 2147483647 h 192"/>
                    <a:gd name="T56" fmla="*/ 2147483647 w 296"/>
                    <a:gd name="T57" fmla="*/ 2147483647 h 192"/>
                    <a:gd name="T58" fmla="*/ 2147483647 w 296"/>
                    <a:gd name="T59" fmla="*/ 2147483647 h 192"/>
                    <a:gd name="T60" fmla="*/ 2147483647 w 296"/>
                    <a:gd name="T61" fmla="*/ 2147483647 h 192"/>
                    <a:gd name="T62" fmla="*/ 2147483647 w 296"/>
                    <a:gd name="T63" fmla="*/ 2147483647 h 192"/>
                    <a:gd name="T64" fmla="*/ 2147483647 w 296"/>
                    <a:gd name="T65" fmla="*/ 2147483647 h 192"/>
                    <a:gd name="T66" fmla="*/ 2147483647 w 296"/>
                    <a:gd name="T67" fmla="*/ 2147483647 h 192"/>
                    <a:gd name="T68" fmla="*/ 2147483647 w 296"/>
                    <a:gd name="T69" fmla="*/ 2147483647 h 192"/>
                    <a:gd name="T70" fmla="*/ 2147483647 w 296"/>
                    <a:gd name="T71" fmla="*/ 2147483647 h 192"/>
                    <a:gd name="T72" fmla="*/ 2147483647 w 296"/>
                    <a:gd name="T73" fmla="*/ 2147483647 h 192"/>
                    <a:gd name="T74" fmla="*/ 2147483647 w 296"/>
                    <a:gd name="T75" fmla="*/ 2147483647 h 192"/>
                    <a:gd name="T76" fmla="*/ 2147483647 w 296"/>
                    <a:gd name="T77" fmla="*/ 2147483647 h 192"/>
                    <a:gd name="T78" fmla="*/ 2147483647 w 296"/>
                    <a:gd name="T79" fmla="*/ 2147483647 h 192"/>
                    <a:gd name="T80" fmla="*/ 2147483647 w 296"/>
                    <a:gd name="T81" fmla="*/ 2147483647 h 192"/>
                    <a:gd name="T82" fmla="*/ 2147483647 w 296"/>
                    <a:gd name="T83" fmla="*/ 2147483647 h 192"/>
                    <a:gd name="T84" fmla="*/ 2147483647 w 296"/>
                    <a:gd name="T85" fmla="*/ 2147483647 h 192"/>
                    <a:gd name="T86" fmla="*/ 2147483647 w 296"/>
                    <a:gd name="T87" fmla="*/ 2147483647 h 192"/>
                    <a:gd name="T88" fmla="*/ 2147483647 w 296"/>
                    <a:gd name="T89" fmla="*/ 2147483647 h 192"/>
                    <a:gd name="T90" fmla="*/ 2147483647 w 296"/>
                    <a:gd name="T91" fmla="*/ 2147483647 h 192"/>
                    <a:gd name="T92" fmla="*/ 2147483647 w 296"/>
                    <a:gd name="T93" fmla="*/ 2147483647 h 192"/>
                    <a:gd name="T94" fmla="*/ 2147483647 w 296"/>
                    <a:gd name="T95" fmla="*/ 2147483647 h 192"/>
                    <a:gd name="T96" fmla="*/ 2147483647 w 296"/>
                    <a:gd name="T97" fmla="*/ 2147483647 h 192"/>
                    <a:gd name="T98" fmla="*/ 2147483647 w 296"/>
                    <a:gd name="T99" fmla="*/ 2147483647 h 192"/>
                    <a:gd name="T100" fmla="*/ 2147483647 w 296"/>
                    <a:gd name="T101" fmla="*/ 0 h 192"/>
                    <a:gd name="T102" fmla="*/ 2147483647 w 296"/>
                    <a:gd name="T103" fmla="*/ 2147483647 h 192"/>
                    <a:gd name="T104" fmla="*/ 2147483647 w 296"/>
                    <a:gd name="T105" fmla="*/ 2147483647 h 192"/>
                    <a:gd name="T106" fmla="*/ 2147483647 w 296"/>
                    <a:gd name="T107" fmla="*/ 2147483647 h 192"/>
                    <a:gd name="T108" fmla="*/ 2147483647 w 296"/>
                    <a:gd name="T109" fmla="*/ 2147483647 h 192"/>
                    <a:gd name="T110" fmla="*/ 2147483647 w 296"/>
                    <a:gd name="T111" fmla="*/ 2147483647 h 192"/>
                    <a:gd name="T112" fmla="*/ 2147483647 w 296"/>
                    <a:gd name="T113" fmla="*/ 0 h 192"/>
                    <a:gd name="T114" fmla="*/ 2147483647 w 296"/>
                    <a:gd name="T115" fmla="*/ 0 h 192"/>
                    <a:gd name="T116" fmla="*/ 2147483647 w 296"/>
                    <a:gd name="T117" fmla="*/ 2147483647 h 19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96"/>
                    <a:gd name="T178" fmla="*/ 0 h 192"/>
                    <a:gd name="T179" fmla="*/ 296 w 296"/>
                    <a:gd name="T180" fmla="*/ 192 h 19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96" h="192">
                      <a:moveTo>
                        <a:pt x="165" y="122"/>
                      </a:moveTo>
                      <a:lnTo>
                        <a:pt x="174" y="105"/>
                      </a:lnTo>
                      <a:lnTo>
                        <a:pt x="200" y="114"/>
                      </a:lnTo>
                      <a:lnTo>
                        <a:pt x="200" y="122"/>
                      </a:lnTo>
                      <a:lnTo>
                        <a:pt x="183" y="122"/>
                      </a:lnTo>
                      <a:lnTo>
                        <a:pt x="165" y="122"/>
                      </a:lnTo>
                      <a:close/>
                      <a:moveTo>
                        <a:pt x="8" y="18"/>
                      </a:moveTo>
                      <a:lnTo>
                        <a:pt x="0" y="44"/>
                      </a:lnTo>
                      <a:lnTo>
                        <a:pt x="26" y="44"/>
                      </a:lnTo>
                      <a:lnTo>
                        <a:pt x="8" y="53"/>
                      </a:lnTo>
                      <a:lnTo>
                        <a:pt x="26" y="53"/>
                      </a:lnTo>
                      <a:lnTo>
                        <a:pt x="43" y="44"/>
                      </a:lnTo>
                      <a:lnTo>
                        <a:pt x="96" y="53"/>
                      </a:lnTo>
                      <a:lnTo>
                        <a:pt x="104" y="61"/>
                      </a:lnTo>
                      <a:lnTo>
                        <a:pt x="113" y="53"/>
                      </a:lnTo>
                      <a:lnTo>
                        <a:pt x="139" y="61"/>
                      </a:lnTo>
                      <a:lnTo>
                        <a:pt x="165" y="88"/>
                      </a:lnTo>
                      <a:lnTo>
                        <a:pt x="157" y="105"/>
                      </a:lnTo>
                      <a:lnTo>
                        <a:pt x="139" y="122"/>
                      </a:lnTo>
                      <a:lnTo>
                        <a:pt x="104" y="131"/>
                      </a:lnTo>
                      <a:lnTo>
                        <a:pt x="87" y="122"/>
                      </a:lnTo>
                      <a:lnTo>
                        <a:pt x="61" y="140"/>
                      </a:lnTo>
                      <a:lnTo>
                        <a:pt x="78" y="157"/>
                      </a:lnTo>
                      <a:lnTo>
                        <a:pt x="104" y="140"/>
                      </a:lnTo>
                      <a:lnTo>
                        <a:pt x="139" y="149"/>
                      </a:lnTo>
                      <a:lnTo>
                        <a:pt x="148" y="166"/>
                      </a:lnTo>
                      <a:lnTo>
                        <a:pt x="200" y="192"/>
                      </a:lnTo>
                      <a:lnTo>
                        <a:pt x="200" y="183"/>
                      </a:lnTo>
                      <a:lnTo>
                        <a:pt x="174" y="157"/>
                      </a:lnTo>
                      <a:lnTo>
                        <a:pt x="209" y="166"/>
                      </a:lnTo>
                      <a:lnTo>
                        <a:pt x="235" y="157"/>
                      </a:lnTo>
                      <a:lnTo>
                        <a:pt x="209" y="122"/>
                      </a:lnTo>
                      <a:lnTo>
                        <a:pt x="218" y="114"/>
                      </a:lnTo>
                      <a:lnTo>
                        <a:pt x="244" y="114"/>
                      </a:lnTo>
                      <a:lnTo>
                        <a:pt x="244" y="122"/>
                      </a:lnTo>
                      <a:lnTo>
                        <a:pt x="261" y="140"/>
                      </a:lnTo>
                      <a:lnTo>
                        <a:pt x="261" y="122"/>
                      </a:lnTo>
                      <a:lnTo>
                        <a:pt x="296" y="114"/>
                      </a:lnTo>
                      <a:lnTo>
                        <a:pt x="287" y="96"/>
                      </a:lnTo>
                      <a:lnTo>
                        <a:pt x="261" y="105"/>
                      </a:lnTo>
                      <a:lnTo>
                        <a:pt x="270" y="96"/>
                      </a:lnTo>
                      <a:lnTo>
                        <a:pt x="226" y="79"/>
                      </a:lnTo>
                      <a:lnTo>
                        <a:pt x="252" y="70"/>
                      </a:lnTo>
                      <a:lnTo>
                        <a:pt x="252" y="53"/>
                      </a:lnTo>
                      <a:lnTo>
                        <a:pt x="235" y="53"/>
                      </a:lnTo>
                      <a:lnTo>
                        <a:pt x="209" y="53"/>
                      </a:lnTo>
                      <a:lnTo>
                        <a:pt x="226" y="44"/>
                      </a:lnTo>
                      <a:lnTo>
                        <a:pt x="183" y="35"/>
                      </a:lnTo>
                      <a:lnTo>
                        <a:pt x="122" y="27"/>
                      </a:lnTo>
                      <a:lnTo>
                        <a:pt x="130" y="9"/>
                      </a:lnTo>
                      <a:lnTo>
                        <a:pt x="113" y="0"/>
                      </a:lnTo>
                      <a:lnTo>
                        <a:pt x="69" y="18"/>
                      </a:lnTo>
                      <a:lnTo>
                        <a:pt x="78" y="35"/>
                      </a:lnTo>
                      <a:lnTo>
                        <a:pt x="52" y="35"/>
                      </a:lnTo>
                      <a:lnTo>
                        <a:pt x="52" y="27"/>
                      </a:lnTo>
                      <a:lnTo>
                        <a:pt x="69" y="9"/>
                      </a:lnTo>
                      <a:lnTo>
                        <a:pt x="78" y="0"/>
                      </a:lnTo>
                      <a:lnTo>
                        <a:pt x="69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2" name="Freeform 40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3" name="Freeform 41"/>
                <p:cNvSpPr>
                  <a:spLocks/>
                </p:cNvSpPr>
                <p:nvPr/>
              </p:nvSpPr>
              <p:spPr bwMode="auto">
                <a:xfrm>
                  <a:off x="2867026" y="1849438"/>
                  <a:ext cx="69850" cy="14288"/>
                </a:xfrm>
                <a:custGeom>
                  <a:avLst/>
                  <a:gdLst>
                    <a:gd name="T0" fmla="*/ 0 w 44"/>
                    <a:gd name="T1" fmla="*/ 0 h 9"/>
                    <a:gd name="T2" fmla="*/ 0 w 44"/>
                    <a:gd name="T3" fmla="*/ 2147483647 h 9"/>
                    <a:gd name="T4" fmla="*/ 2147483647 w 44"/>
                    <a:gd name="T5" fmla="*/ 2147483647 h 9"/>
                    <a:gd name="T6" fmla="*/ 2147483647 w 44"/>
                    <a:gd name="T7" fmla="*/ 2147483647 h 9"/>
                    <a:gd name="T8" fmla="*/ 2147483647 w 44"/>
                    <a:gd name="T9" fmla="*/ 0 h 9"/>
                    <a:gd name="T10" fmla="*/ 0 w 4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9"/>
                    <a:gd name="T20" fmla="*/ 44 w 4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9"/>
                      </a:lnTo>
                      <a:lnTo>
                        <a:pt x="44" y="9"/>
                      </a:lnTo>
                      <a:lnTo>
                        <a:pt x="4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4" name="Freeform 42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5" name="Freeform 43"/>
                <p:cNvSpPr>
                  <a:spLocks/>
                </p:cNvSpPr>
                <p:nvPr/>
              </p:nvSpPr>
              <p:spPr bwMode="auto">
                <a:xfrm>
                  <a:off x="2811464" y="1974851"/>
                  <a:ext cx="69850" cy="26988"/>
                </a:xfrm>
                <a:custGeom>
                  <a:avLst/>
                  <a:gdLst>
                    <a:gd name="T0" fmla="*/ 2147483647 w 44"/>
                    <a:gd name="T1" fmla="*/ 0 h 17"/>
                    <a:gd name="T2" fmla="*/ 2147483647 w 44"/>
                    <a:gd name="T3" fmla="*/ 2147483647 h 17"/>
                    <a:gd name="T4" fmla="*/ 0 w 44"/>
                    <a:gd name="T5" fmla="*/ 2147483647 h 17"/>
                    <a:gd name="T6" fmla="*/ 2147483647 w 44"/>
                    <a:gd name="T7" fmla="*/ 2147483647 h 17"/>
                    <a:gd name="T8" fmla="*/ 2147483647 w 44"/>
                    <a:gd name="T9" fmla="*/ 2147483647 h 17"/>
                    <a:gd name="T10" fmla="*/ 2147483647 w 44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17"/>
                    <a:gd name="T20" fmla="*/ 44 w 44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17">
                      <a:moveTo>
                        <a:pt x="35" y="0"/>
                      </a:moveTo>
                      <a:lnTo>
                        <a:pt x="9" y="9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44" y="17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6" name="Freeform 44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7" name="Freeform 45"/>
                <p:cNvSpPr>
                  <a:spLocks/>
                </p:cNvSpPr>
                <p:nvPr/>
              </p:nvSpPr>
              <p:spPr bwMode="auto">
                <a:xfrm>
                  <a:off x="1344614" y="1905001"/>
                  <a:ext cx="1744663" cy="788988"/>
                </a:xfrm>
                <a:custGeom>
                  <a:avLst/>
                  <a:gdLst>
                    <a:gd name="T0" fmla="*/ 2147483647 w 1099"/>
                    <a:gd name="T1" fmla="*/ 2147483647 h 497"/>
                    <a:gd name="T2" fmla="*/ 2147483647 w 1099"/>
                    <a:gd name="T3" fmla="*/ 2147483647 h 497"/>
                    <a:gd name="T4" fmla="*/ 2147483647 w 1099"/>
                    <a:gd name="T5" fmla="*/ 2147483647 h 497"/>
                    <a:gd name="T6" fmla="*/ 2147483647 w 1099"/>
                    <a:gd name="T7" fmla="*/ 2147483647 h 497"/>
                    <a:gd name="T8" fmla="*/ 2147483647 w 1099"/>
                    <a:gd name="T9" fmla="*/ 0 h 497"/>
                    <a:gd name="T10" fmla="*/ 2147483647 w 1099"/>
                    <a:gd name="T11" fmla="*/ 2147483647 h 497"/>
                    <a:gd name="T12" fmla="*/ 2147483647 w 1099"/>
                    <a:gd name="T13" fmla="*/ 2147483647 h 497"/>
                    <a:gd name="T14" fmla="*/ 2147483647 w 1099"/>
                    <a:gd name="T15" fmla="*/ 2147483647 h 497"/>
                    <a:gd name="T16" fmla="*/ 2147483647 w 1099"/>
                    <a:gd name="T17" fmla="*/ 2147483647 h 497"/>
                    <a:gd name="T18" fmla="*/ 2147483647 w 1099"/>
                    <a:gd name="T19" fmla="*/ 2147483647 h 497"/>
                    <a:gd name="T20" fmla="*/ 2147483647 w 1099"/>
                    <a:gd name="T21" fmla="*/ 2147483647 h 497"/>
                    <a:gd name="T22" fmla="*/ 2147483647 w 1099"/>
                    <a:gd name="T23" fmla="*/ 2147483647 h 497"/>
                    <a:gd name="T24" fmla="*/ 2147483647 w 1099"/>
                    <a:gd name="T25" fmla="*/ 2147483647 h 497"/>
                    <a:gd name="T26" fmla="*/ 2147483647 w 1099"/>
                    <a:gd name="T27" fmla="*/ 2147483647 h 497"/>
                    <a:gd name="T28" fmla="*/ 2147483647 w 1099"/>
                    <a:gd name="T29" fmla="*/ 2147483647 h 497"/>
                    <a:gd name="T30" fmla="*/ 2147483647 w 1099"/>
                    <a:gd name="T31" fmla="*/ 2147483647 h 497"/>
                    <a:gd name="T32" fmla="*/ 2147483647 w 1099"/>
                    <a:gd name="T33" fmla="*/ 2147483647 h 497"/>
                    <a:gd name="T34" fmla="*/ 2147483647 w 1099"/>
                    <a:gd name="T35" fmla="*/ 2147483647 h 497"/>
                    <a:gd name="T36" fmla="*/ 2147483647 w 1099"/>
                    <a:gd name="T37" fmla="*/ 2147483647 h 497"/>
                    <a:gd name="T38" fmla="*/ 2147483647 w 1099"/>
                    <a:gd name="T39" fmla="*/ 2147483647 h 497"/>
                    <a:gd name="T40" fmla="*/ 2147483647 w 1099"/>
                    <a:gd name="T41" fmla="*/ 2147483647 h 497"/>
                    <a:gd name="T42" fmla="*/ 2147483647 w 1099"/>
                    <a:gd name="T43" fmla="*/ 2147483647 h 497"/>
                    <a:gd name="T44" fmla="*/ 2147483647 w 1099"/>
                    <a:gd name="T45" fmla="*/ 2147483647 h 497"/>
                    <a:gd name="T46" fmla="*/ 2147483647 w 1099"/>
                    <a:gd name="T47" fmla="*/ 2147483647 h 497"/>
                    <a:gd name="T48" fmla="*/ 2147483647 w 1099"/>
                    <a:gd name="T49" fmla="*/ 2147483647 h 497"/>
                    <a:gd name="T50" fmla="*/ 2147483647 w 1099"/>
                    <a:gd name="T51" fmla="*/ 2147483647 h 497"/>
                    <a:gd name="T52" fmla="*/ 2147483647 w 1099"/>
                    <a:gd name="T53" fmla="*/ 2147483647 h 497"/>
                    <a:gd name="T54" fmla="*/ 2147483647 w 1099"/>
                    <a:gd name="T55" fmla="*/ 2147483647 h 497"/>
                    <a:gd name="T56" fmla="*/ 2147483647 w 1099"/>
                    <a:gd name="T57" fmla="*/ 2147483647 h 497"/>
                    <a:gd name="T58" fmla="*/ 2147483647 w 1099"/>
                    <a:gd name="T59" fmla="*/ 2147483647 h 497"/>
                    <a:gd name="T60" fmla="*/ 2147483647 w 1099"/>
                    <a:gd name="T61" fmla="*/ 2147483647 h 497"/>
                    <a:gd name="T62" fmla="*/ 2147483647 w 1099"/>
                    <a:gd name="T63" fmla="*/ 2147483647 h 497"/>
                    <a:gd name="T64" fmla="*/ 2147483647 w 1099"/>
                    <a:gd name="T65" fmla="*/ 2147483647 h 497"/>
                    <a:gd name="T66" fmla="*/ 2147483647 w 1099"/>
                    <a:gd name="T67" fmla="*/ 2147483647 h 497"/>
                    <a:gd name="T68" fmla="*/ 2147483647 w 1099"/>
                    <a:gd name="T69" fmla="*/ 2147483647 h 497"/>
                    <a:gd name="T70" fmla="*/ 2147483647 w 1099"/>
                    <a:gd name="T71" fmla="*/ 2147483647 h 497"/>
                    <a:gd name="T72" fmla="*/ 2147483647 w 1099"/>
                    <a:gd name="T73" fmla="*/ 2147483647 h 497"/>
                    <a:gd name="T74" fmla="*/ 2147483647 w 1099"/>
                    <a:gd name="T75" fmla="*/ 2147483647 h 497"/>
                    <a:gd name="T76" fmla="*/ 2147483647 w 1099"/>
                    <a:gd name="T77" fmla="*/ 2147483647 h 497"/>
                    <a:gd name="T78" fmla="*/ 2147483647 w 1099"/>
                    <a:gd name="T79" fmla="*/ 2147483647 h 497"/>
                    <a:gd name="T80" fmla="*/ 2147483647 w 1099"/>
                    <a:gd name="T81" fmla="*/ 2147483647 h 497"/>
                    <a:gd name="T82" fmla="*/ 2147483647 w 1099"/>
                    <a:gd name="T83" fmla="*/ 2147483647 h 497"/>
                    <a:gd name="T84" fmla="*/ 2147483647 w 1099"/>
                    <a:gd name="T85" fmla="*/ 2147483647 h 497"/>
                    <a:gd name="T86" fmla="*/ 2147483647 w 1099"/>
                    <a:gd name="T87" fmla="*/ 2147483647 h 497"/>
                    <a:gd name="T88" fmla="*/ 2147483647 w 1099"/>
                    <a:gd name="T89" fmla="*/ 2147483647 h 497"/>
                    <a:gd name="T90" fmla="*/ 2147483647 w 1099"/>
                    <a:gd name="T91" fmla="*/ 2147483647 h 497"/>
                    <a:gd name="T92" fmla="*/ 2147483647 w 1099"/>
                    <a:gd name="T93" fmla="*/ 2147483647 h 497"/>
                    <a:gd name="T94" fmla="*/ 2147483647 w 1099"/>
                    <a:gd name="T95" fmla="*/ 2147483647 h 497"/>
                    <a:gd name="T96" fmla="*/ 2147483647 w 1099"/>
                    <a:gd name="T97" fmla="*/ 2147483647 h 497"/>
                    <a:gd name="T98" fmla="*/ 2147483647 w 1099"/>
                    <a:gd name="T99" fmla="*/ 2147483647 h 497"/>
                    <a:gd name="T100" fmla="*/ 2147483647 w 1099"/>
                    <a:gd name="T101" fmla="*/ 2147483647 h 497"/>
                    <a:gd name="T102" fmla="*/ 2147483647 w 1099"/>
                    <a:gd name="T103" fmla="*/ 2147483647 h 497"/>
                    <a:gd name="T104" fmla="*/ 2147483647 w 1099"/>
                    <a:gd name="T105" fmla="*/ 2147483647 h 497"/>
                    <a:gd name="T106" fmla="*/ 2147483647 w 1099"/>
                    <a:gd name="T107" fmla="*/ 2147483647 h 49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99"/>
                    <a:gd name="T163" fmla="*/ 0 h 497"/>
                    <a:gd name="T164" fmla="*/ 1099 w 1099"/>
                    <a:gd name="T165" fmla="*/ 497 h 49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99" h="497">
                      <a:moveTo>
                        <a:pt x="820" y="87"/>
                      </a:moveTo>
                      <a:lnTo>
                        <a:pt x="828" y="79"/>
                      </a:lnTo>
                      <a:lnTo>
                        <a:pt x="855" y="79"/>
                      </a:lnTo>
                      <a:lnTo>
                        <a:pt x="881" y="53"/>
                      </a:lnTo>
                      <a:lnTo>
                        <a:pt x="889" y="35"/>
                      </a:lnTo>
                      <a:lnTo>
                        <a:pt x="855" y="26"/>
                      </a:lnTo>
                      <a:lnTo>
                        <a:pt x="846" y="44"/>
                      </a:lnTo>
                      <a:lnTo>
                        <a:pt x="811" y="61"/>
                      </a:lnTo>
                      <a:lnTo>
                        <a:pt x="793" y="61"/>
                      </a:lnTo>
                      <a:lnTo>
                        <a:pt x="811" y="35"/>
                      </a:lnTo>
                      <a:lnTo>
                        <a:pt x="785" y="35"/>
                      </a:lnTo>
                      <a:lnTo>
                        <a:pt x="776" y="44"/>
                      </a:lnTo>
                      <a:lnTo>
                        <a:pt x="767" y="35"/>
                      </a:lnTo>
                      <a:lnTo>
                        <a:pt x="785" y="26"/>
                      </a:lnTo>
                      <a:lnTo>
                        <a:pt x="767" y="0"/>
                      </a:lnTo>
                      <a:lnTo>
                        <a:pt x="724" y="18"/>
                      </a:lnTo>
                      <a:lnTo>
                        <a:pt x="741" y="35"/>
                      </a:lnTo>
                      <a:lnTo>
                        <a:pt x="724" y="53"/>
                      </a:lnTo>
                      <a:lnTo>
                        <a:pt x="698" y="53"/>
                      </a:lnTo>
                      <a:lnTo>
                        <a:pt x="680" y="61"/>
                      </a:lnTo>
                      <a:lnTo>
                        <a:pt x="645" y="61"/>
                      </a:lnTo>
                      <a:lnTo>
                        <a:pt x="593" y="53"/>
                      </a:lnTo>
                      <a:lnTo>
                        <a:pt x="549" y="53"/>
                      </a:lnTo>
                      <a:lnTo>
                        <a:pt x="541" y="79"/>
                      </a:lnTo>
                      <a:lnTo>
                        <a:pt x="532" y="61"/>
                      </a:lnTo>
                      <a:lnTo>
                        <a:pt x="488" y="70"/>
                      </a:lnTo>
                      <a:lnTo>
                        <a:pt x="462" y="61"/>
                      </a:lnTo>
                      <a:lnTo>
                        <a:pt x="480" y="44"/>
                      </a:lnTo>
                      <a:lnTo>
                        <a:pt x="401" y="26"/>
                      </a:lnTo>
                      <a:lnTo>
                        <a:pt x="366" y="35"/>
                      </a:lnTo>
                      <a:lnTo>
                        <a:pt x="358" y="44"/>
                      </a:lnTo>
                      <a:lnTo>
                        <a:pt x="349" y="26"/>
                      </a:lnTo>
                      <a:lnTo>
                        <a:pt x="323" y="35"/>
                      </a:lnTo>
                      <a:lnTo>
                        <a:pt x="279" y="26"/>
                      </a:lnTo>
                      <a:lnTo>
                        <a:pt x="227" y="44"/>
                      </a:lnTo>
                      <a:lnTo>
                        <a:pt x="183" y="35"/>
                      </a:lnTo>
                      <a:lnTo>
                        <a:pt x="166" y="35"/>
                      </a:lnTo>
                      <a:lnTo>
                        <a:pt x="0" y="175"/>
                      </a:lnTo>
                      <a:lnTo>
                        <a:pt x="35" y="183"/>
                      </a:lnTo>
                      <a:lnTo>
                        <a:pt x="26" y="201"/>
                      </a:lnTo>
                      <a:lnTo>
                        <a:pt x="61" y="183"/>
                      </a:lnTo>
                      <a:lnTo>
                        <a:pt x="70" y="209"/>
                      </a:lnTo>
                      <a:lnTo>
                        <a:pt x="70" y="244"/>
                      </a:lnTo>
                      <a:lnTo>
                        <a:pt x="70" y="262"/>
                      </a:lnTo>
                      <a:lnTo>
                        <a:pt x="52" y="270"/>
                      </a:lnTo>
                      <a:lnTo>
                        <a:pt x="35" y="288"/>
                      </a:lnTo>
                      <a:lnTo>
                        <a:pt x="35" y="305"/>
                      </a:lnTo>
                      <a:lnTo>
                        <a:pt x="44" y="305"/>
                      </a:lnTo>
                      <a:lnTo>
                        <a:pt x="35" y="323"/>
                      </a:lnTo>
                      <a:lnTo>
                        <a:pt x="52" y="314"/>
                      </a:lnTo>
                      <a:lnTo>
                        <a:pt x="35" y="340"/>
                      </a:lnTo>
                      <a:lnTo>
                        <a:pt x="52" y="349"/>
                      </a:lnTo>
                      <a:lnTo>
                        <a:pt x="79" y="375"/>
                      </a:lnTo>
                      <a:lnTo>
                        <a:pt x="488" y="375"/>
                      </a:lnTo>
                      <a:lnTo>
                        <a:pt x="488" y="366"/>
                      </a:lnTo>
                      <a:lnTo>
                        <a:pt x="506" y="366"/>
                      </a:lnTo>
                      <a:lnTo>
                        <a:pt x="506" y="384"/>
                      </a:lnTo>
                      <a:lnTo>
                        <a:pt x="532" y="392"/>
                      </a:lnTo>
                      <a:lnTo>
                        <a:pt x="541" y="384"/>
                      </a:lnTo>
                      <a:lnTo>
                        <a:pt x="558" y="401"/>
                      </a:lnTo>
                      <a:lnTo>
                        <a:pt x="575" y="392"/>
                      </a:lnTo>
                      <a:lnTo>
                        <a:pt x="584" y="384"/>
                      </a:lnTo>
                      <a:lnTo>
                        <a:pt x="610" y="375"/>
                      </a:lnTo>
                      <a:lnTo>
                        <a:pt x="628" y="401"/>
                      </a:lnTo>
                      <a:lnTo>
                        <a:pt x="637" y="419"/>
                      </a:lnTo>
                      <a:lnTo>
                        <a:pt x="671" y="427"/>
                      </a:lnTo>
                      <a:lnTo>
                        <a:pt x="689" y="445"/>
                      </a:lnTo>
                      <a:lnTo>
                        <a:pt x="671" y="453"/>
                      </a:lnTo>
                      <a:lnTo>
                        <a:pt x="663" y="445"/>
                      </a:lnTo>
                      <a:lnTo>
                        <a:pt x="654" y="453"/>
                      </a:lnTo>
                      <a:lnTo>
                        <a:pt x="628" y="497"/>
                      </a:lnTo>
                      <a:lnTo>
                        <a:pt x="654" y="488"/>
                      </a:lnTo>
                      <a:lnTo>
                        <a:pt x="671" y="488"/>
                      </a:lnTo>
                      <a:lnTo>
                        <a:pt x="680" y="488"/>
                      </a:lnTo>
                      <a:lnTo>
                        <a:pt x="680" y="471"/>
                      </a:lnTo>
                      <a:lnTo>
                        <a:pt x="724" y="462"/>
                      </a:lnTo>
                      <a:lnTo>
                        <a:pt x="732" y="462"/>
                      </a:lnTo>
                      <a:lnTo>
                        <a:pt x="759" y="445"/>
                      </a:lnTo>
                      <a:lnTo>
                        <a:pt x="837" y="436"/>
                      </a:lnTo>
                      <a:lnTo>
                        <a:pt x="872" y="401"/>
                      </a:lnTo>
                      <a:lnTo>
                        <a:pt x="889" y="401"/>
                      </a:lnTo>
                      <a:lnTo>
                        <a:pt x="881" y="419"/>
                      </a:lnTo>
                      <a:lnTo>
                        <a:pt x="881" y="453"/>
                      </a:lnTo>
                      <a:lnTo>
                        <a:pt x="898" y="445"/>
                      </a:lnTo>
                      <a:lnTo>
                        <a:pt x="916" y="427"/>
                      </a:lnTo>
                      <a:lnTo>
                        <a:pt x="924" y="445"/>
                      </a:lnTo>
                      <a:lnTo>
                        <a:pt x="916" y="445"/>
                      </a:lnTo>
                      <a:lnTo>
                        <a:pt x="881" y="462"/>
                      </a:lnTo>
                      <a:lnTo>
                        <a:pt x="889" y="471"/>
                      </a:lnTo>
                      <a:lnTo>
                        <a:pt x="916" y="471"/>
                      </a:lnTo>
                      <a:lnTo>
                        <a:pt x="933" y="445"/>
                      </a:lnTo>
                      <a:lnTo>
                        <a:pt x="968" y="445"/>
                      </a:lnTo>
                      <a:lnTo>
                        <a:pt x="968" y="427"/>
                      </a:lnTo>
                      <a:lnTo>
                        <a:pt x="942" y="427"/>
                      </a:lnTo>
                      <a:lnTo>
                        <a:pt x="924" y="427"/>
                      </a:lnTo>
                      <a:lnTo>
                        <a:pt x="916" y="419"/>
                      </a:lnTo>
                      <a:lnTo>
                        <a:pt x="924" y="401"/>
                      </a:lnTo>
                      <a:lnTo>
                        <a:pt x="898" y="392"/>
                      </a:lnTo>
                      <a:lnTo>
                        <a:pt x="898" y="384"/>
                      </a:lnTo>
                      <a:lnTo>
                        <a:pt x="933" y="392"/>
                      </a:lnTo>
                      <a:lnTo>
                        <a:pt x="942" y="375"/>
                      </a:lnTo>
                      <a:lnTo>
                        <a:pt x="924" y="366"/>
                      </a:lnTo>
                      <a:lnTo>
                        <a:pt x="898" y="375"/>
                      </a:lnTo>
                      <a:lnTo>
                        <a:pt x="863" y="392"/>
                      </a:lnTo>
                      <a:lnTo>
                        <a:pt x="828" y="419"/>
                      </a:lnTo>
                      <a:lnTo>
                        <a:pt x="855" y="384"/>
                      </a:lnTo>
                      <a:lnTo>
                        <a:pt x="881" y="366"/>
                      </a:lnTo>
                      <a:lnTo>
                        <a:pt x="907" y="349"/>
                      </a:lnTo>
                      <a:lnTo>
                        <a:pt x="977" y="349"/>
                      </a:lnTo>
                      <a:lnTo>
                        <a:pt x="1011" y="349"/>
                      </a:lnTo>
                      <a:lnTo>
                        <a:pt x="1029" y="340"/>
                      </a:lnTo>
                      <a:lnTo>
                        <a:pt x="1064" y="323"/>
                      </a:lnTo>
                      <a:lnTo>
                        <a:pt x="1081" y="323"/>
                      </a:lnTo>
                      <a:lnTo>
                        <a:pt x="1090" y="323"/>
                      </a:lnTo>
                      <a:lnTo>
                        <a:pt x="1081" y="305"/>
                      </a:lnTo>
                      <a:lnTo>
                        <a:pt x="1090" y="305"/>
                      </a:lnTo>
                      <a:lnTo>
                        <a:pt x="1099" y="288"/>
                      </a:lnTo>
                      <a:lnTo>
                        <a:pt x="1029" y="297"/>
                      </a:lnTo>
                      <a:lnTo>
                        <a:pt x="1072" y="279"/>
                      </a:lnTo>
                      <a:lnTo>
                        <a:pt x="1029" y="253"/>
                      </a:lnTo>
                      <a:lnTo>
                        <a:pt x="1038" y="227"/>
                      </a:lnTo>
                      <a:lnTo>
                        <a:pt x="1029" y="218"/>
                      </a:lnTo>
                      <a:lnTo>
                        <a:pt x="1029" y="201"/>
                      </a:lnTo>
                      <a:lnTo>
                        <a:pt x="1020" y="201"/>
                      </a:lnTo>
                      <a:lnTo>
                        <a:pt x="1029" y="183"/>
                      </a:lnTo>
                      <a:lnTo>
                        <a:pt x="950" y="218"/>
                      </a:lnTo>
                      <a:lnTo>
                        <a:pt x="942" y="218"/>
                      </a:lnTo>
                      <a:lnTo>
                        <a:pt x="950" y="209"/>
                      </a:lnTo>
                      <a:lnTo>
                        <a:pt x="950" y="201"/>
                      </a:lnTo>
                      <a:lnTo>
                        <a:pt x="968" y="166"/>
                      </a:lnTo>
                      <a:lnTo>
                        <a:pt x="950" y="166"/>
                      </a:lnTo>
                      <a:lnTo>
                        <a:pt x="933" y="148"/>
                      </a:lnTo>
                      <a:lnTo>
                        <a:pt x="924" y="148"/>
                      </a:lnTo>
                      <a:lnTo>
                        <a:pt x="881" y="140"/>
                      </a:lnTo>
                      <a:lnTo>
                        <a:pt x="872" y="131"/>
                      </a:lnTo>
                      <a:lnTo>
                        <a:pt x="863" y="148"/>
                      </a:lnTo>
                      <a:lnTo>
                        <a:pt x="846" y="175"/>
                      </a:lnTo>
                      <a:lnTo>
                        <a:pt x="855" y="183"/>
                      </a:lnTo>
                      <a:lnTo>
                        <a:pt x="820" y="209"/>
                      </a:lnTo>
                      <a:lnTo>
                        <a:pt x="828" y="236"/>
                      </a:lnTo>
                      <a:lnTo>
                        <a:pt x="785" y="270"/>
                      </a:lnTo>
                      <a:lnTo>
                        <a:pt x="767" y="279"/>
                      </a:lnTo>
                      <a:lnTo>
                        <a:pt x="759" y="305"/>
                      </a:lnTo>
                      <a:lnTo>
                        <a:pt x="732" y="340"/>
                      </a:lnTo>
                      <a:lnTo>
                        <a:pt x="715" y="323"/>
                      </a:lnTo>
                      <a:lnTo>
                        <a:pt x="724" y="270"/>
                      </a:lnTo>
                      <a:lnTo>
                        <a:pt x="715" y="270"/>
                      </a:lnTo>
                      <a:lnTo>
                        <a:pt x="689" y="270"/>
                      </a:lnTo>
                      <a:lnTo>
                        <a:pt x="645" y="236"/>
                      </a:lnTo>
                      <a:lnTo>
                        <a:pt x="610" y="236"/>
                      </a:lnTo>
                      <a:lnTo>
                        <a:pt x="610" y="201"/>
                      </a:lnTo>
                      <a:lnTo>
                        <a:pt x="602" y="201"/>
                      </a:lnTo>
                      <a:lnTo>
                        <a:pt x="610" y="183"/>
                      </a:lnTo>
                      <a:lnTo>
                        <a:pt x="654" y="157"/>
                      </a:lnTo>
                      <a:lnTo>
                        <a:pt x="654" y="148"/>
                      </a:lnTo>
                      <a:lnTo>
                        <a:pt x="698" y="131"/>
                      </a:lnTo>
                      <a:lnTo>
                        <a:pt x="680" y="122"/>
                      </a:lnTo>
                      <a:lnTo>
                        <a:pt x="706" y="122"/>
                      </a:lnTo>
                      <a:lnTo>
                        <a:pt x="767" y="105"/>
                      </a:lnTo>
                      <a:lnTo>
                        <a:pt x="724" y="87"/>
                      </a:lnTo>
                      <a:lnTo>
                        <a:pt x="776" y="87"/>
                      </a:lnTo>
                      <a:lnTo>
                        <a:pt x="802" y="79"/>
                      </a:lnTo>
                      <a:lnTo>
                        <a:pt x="820" y="8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8" name="Freeform 46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29" name="Freeform 47"/>
                <p:cNvSpPr>
                  <a:spLocks/>
                </p:cNvSpPr>
                <p:nvPr/>
              </p:nvSpPr>
              <p:spPr bwMode="auto">
                <a:xfrm>
                  <a:off x="2590801" y="21129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17"/>
                      </a:move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8" y="26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0" name="Freeform 48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1" name="Freeform 49"/>
                <p:cNvSpPr>
                  <a:spLocks/>
                </p:cNvSpPr>
                <p:nvPr/>
              </p:nvSpPr>
              <p:spPr bwMode="auto">
                <a:xfrm>
                  <a:off x="2659064" y="2139951"/>
                  <a:ext cx="28575" cy="1428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0 h 9"/>
                    <a:gd name="T4" fmla="*/ 0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2" name="Freeform 50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3" name="Freeform 51"/>
                <p:cNvSpPr>
                  <a:spLocks/>
                </p:cNvSpPr>
                <p:nvPr/>
              </p:nvSpPr>
              <p:spPr bwMode="auto">
                <a:xfrm>
                  <a:off x="2576514" y="2043113"/>
                  <a:ext cx="96838" cy="69850"/>
                </a:xfrm>
                <a:custGeom>
                  <a:avLst/>
                  <a:gdLst>
                    <a:gd name="T0" fmla="*/ 2147483647 w 61"/>
                    <a:gd name="T1" fmla="*/ 2147483647 h 44"/>
                    <a:gd name="T2" fmla="*/ 2147483647 w 61"/>
                    <a:gd name="T3" fmla="*/ 2147483647 h 44"/>
                    <a:gd name="T4" fmla="*/ 2147483647 w 61"/>
                    <a:gd name="T5" fmla="*/ 2147483647 h 44"/>
                    <a:gd name="T6" fmla="*/ 2147483647 w 61"/>
                    <a:gd name="T7" fmla="*/ 0 h 44"/>
                    <a:gd name="T8" fmla="*/ 0 w 61"/>
                    <a:gd name="T9" fmla="*/ 2147483647 h 44"/>
                    <a:gd name="T10" fmla="*/ 0 w 61"/>
                    <a:gd name="T11" fmla="*/ 2147483647 h 44"/>
                    <a:gd name="T12" fmla="*/ 2147483647 w 61"/>
                    <a:gd name="T13" fmla="*/ 2147483647 h 44"/>
                    <a:gd name="T14" fmla="*/ 2147483647 w 61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1"/>
                    <a:gd name="T25" fmla="*/ 0 h 44"/>
                    <a:gd name="T26" fmla="*/ 61 w 61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1" h="44">
                      <a:moveTo>
                        <a:pt x="26" y="35"/>
                      </a:moveTo>
                      <a:lnTo>
                        <a:pt x="52" y="44"/>
                      </a:lnTo>
                      <a:lnTo>
                        <a:pt x="61" y="35"/>
                      </a:lnTo>
                      <a:lnTo>
                        <a:pt x="26" y="0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44"/>
                      </a:lnTo>
                      <a:lnTo>
                        <a:pt x="26" y="35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4" name="Freeform 52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5" name="Freeform 53"/>
                <p:cNvSpPr>
                  <a:spLocks/>
                </p:cNvSpPr>
                <p:nvPr/>
              </p:nvSpPr>
              <p:spPr bwMode="auto">
                <a:xfrm>
                  <a:off x="2852739" y="247332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9" y="17"/>
                      </a:lnTo>
                      <a:lnTo>
                        <a:pt x="27" y="17"/>
                      </a:lnTo>
                      <a:lnTo>
                        <a:pt x="35" y="8"/>
                      </a:lnTo>
                      <a:lnTo>
                        <a:pt x="27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6" name="Freeform 54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7" name="Freeform 55"/>
                <p:cNvSpPr>
                  <a:spLocks/>
                </p:cNvSpPr>
                <p:nvPr/>
              </p:nvSpPr>
              <p:spPr bwMode="auto">
                <a:xfrm>
                  <a:off x="2949576" y="2444751"/>
                  <a:ext cx="166688" cy="125413"/>
                </a:xfrm>
                <a:custGeom>
                  <a:avLst/>
                  <a:gdLst>
                    <a:gd name="T0" fmla="*/ 2147483647 w 105"/>
                    <a:gd name="T1" fmla="*/ 0 h 79"/>
                    <a:gd name="T2" fmla="*/ 2147483647 w 105"/>
                    <a:gd name="T3" fmla="*/ 0 h 79"/>
                    <a:gd name="T4" fmla="*/ 2147483647 w 105"/>
                    <a:gd name="T5" fmla="*/ 2147483647 h 79"/>
                    <a:gd name="T6" fmla="*/ 2147483647 w 105"/>
                    <a:gd name="T7" fmla="*/ 2147483647 h 79"/>
                    <a:gd name="T8" fmla="*/ 0 w 105"/>
                    <a:gd name="T9" fmla="*/ 2147483647 h 79"/>
                    <a:gd name="T10" fmla="*/ 2147483647 w 105"/>
                    <a:gd name="T11" fmla="*/ 2147483647 h 79"/>
                    <a:gd name="T12" fmla="*/ 2147483647 w 105"/>
                    <a:gd name="T13" fmla="*/ 2147483647 h 79"/>
                    <a:gd name="T14" fmla="*/ 2147483647 w 105"/>
                    <a:gd name="T15" fmla="*/ 2147483647 h 79"/>
                    <a:gd name="T16" fmla="*/ 2147483647 w 105"/>
                    <a:gd name="T17" fmla="*/ 2147483647 h 79"/>
                    <a:gd name="T18" fmla="*/ 2147483647 w 105"/>
                    <a:gd name="T19" fmla="*/ 2147483647 h 79"/>
                    <a:gd name="T20" fmla="*/ 2147483647 w 105"/>
                    <a:gd name="T21" fmla="*/ 2147483647 h 79"/>
                    <a:gd name="T22" fmla="*/ 2147483647 w 105"/>
                    <a:gd name="T23" fmla="*/ 2147483647 h 79"/>
                    <a:gd name="T24" fmla="*/ 2147483647 w 105"/>
                    <a:gd name="T25" fmla="*/ 2147483647 h 79"/>
                    <a:gd name="T26" fmla="*/ 2147483647 w 105"/>
                    <a:gd name="T27" fmla="*/ 2147483647 h 79"/>
                    <a:gd name="T28" fmla="*/ 2147483647 w 105"/>
                    <a:gd name="T29" fmla="*/ 2147483647 h 79"/>
                    <a:gd name="T30" fmla="*/ 2147483647 w 105"/>
                    <a:gd name="T31" fmla="*/ 2147483647 h 79"/>
                    <a:gd name="T32" fmla="*/ 2147483647 w 105"/>
                    <a:gd name="T33" fmla="*/ 2147483647 h 79"/>
                    <a:gd name="T34" fmla="*/ 2147483647 w 105"/>
                    <a:gd name="T35" fmla="*/ 2147483647 h 79"/>
                    <a:gd name="T36" fmla="*/ 2147483647 w 105"/>
                    <a:gd name="T37" fmla="*/ 0 h 7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5"/>
                    <a:gd name="T58" fmla="*/ 0 h 79"/>
                    <a:gd name="T59" fmla="*/ 105 w 105"/>
                    <a:gd name="T60" fmla="*/ 79 h 7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5" h="79">
                      <a:moveTo>
                        <a:pt x="61" y="0"/>
                      </a:move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27" y="35"/>
                      </a:lnTo>
                      <a:lnTo>
                        <a:pt x="0" y="52"/>
                      </a:lnTo>
                      <a:lnTo>
                        <a:pt x="44" y="61"/>
                      </a:lnTo>
                      <a:lnTo>
                        <a:pt x="44" y="79"/>
                      </a:lnTo>
                      <a:lnTo>
                        <a:pt x="79" y="52"/>
                      </a:lnTo>
                      <a:lnTo>
                        <a:pt x="79" y="70"/>
                      </a:lnTo>
                      <a:lnTo>
                        <a:pt x="96" y="79"/>
                      </a:lnTo>
                      <a:lnTo>
                        <a:pt x="105" y="61"/>
                      </a:lnTo>
                      <a:lnTo>
                        <a:pt x="88" y="52"/>
                      </a:lnTo>
                      <a:lnTo>
                        <a:pt x="96" y="44"/>
                      </a:lnTo>
                      <a:lnTo>
                        <a:pt x="88" y="35"/>
                      </a:lnTo>
                      <a:lnTo>
                        <a:pt x="96" y="26"/>
                      </a:lnTo>
                      <a:lnTo>
                        <a:pt x="61" y="26"/>
                      </a:lnTo>
                      <a:lnTo>
                        <a:pt x="61" y="9"/>
                      </a:lnTo>
                      <a:lnTo>
                        <a:pt x="53" y="9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8" name="Freeform 56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39" name="Freeform 57"/>
                <p:cNvSpPr>
                  <a:spLocks/>
                </p:cNvSpPr>
                <p:nvPr/>
              </p:nvSpPr>
              <p:spPr bwMode="auto">
                <a:xfrm>
                  <a:off x="2881314" y="2527301"/>
                  <a:ext cx="14288" cy="14288"/>
                </a:xfrm>
                <a:custGeom>
                  <a:avLst/>
                  <a:gdLst>
                    <a:gd name="T0" fmla="*/ 0 w 9"/>
                    <a:gd name="T1" fmla="*/ 2147483647 h 9"/>
                    <a:gd name="T2" fmla="*/ 2147483647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9"/>
                      </a:move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0" name="Freeform 58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1" name="Freeform 59"/>
                <p:cNvSpPr>
                  <a:spLocks/>
                </p:cNvSpPr>
                <p:nvPr/>
              </p:nvSpPr>
              <p:spPr bwMode="auto">
                <a:xfrm>
                  <a:off x="2881314" y="2555876"/>
                  <a:ext cx="41275" cy="26988"/>
                </a:xfrm>
                <a:custGeom>
                  <a:avLst/>
                  <a:gdLst>
                    <a:gd name="T0" fmla="*/ 0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2147483647 h 17"/>
                    <a:gd name="T6" fmla="*/ 2147483647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0 h 17"/>
                    <a:gd name="T12" fmla="*/ 0 w 26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17"/>
                    <a:gd name="T23" fmla="*/ 26 w 26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17">
                      <a:moveTo>
                        <a:pt x="0" y="9"/>
                      </a:moveTo>
                      <a:lnTo>
                        <a:pt x="9" y="17"/>
                      </a:lnTo>
                      <a:lnTo>
                        <a:pt x="26" y="17"/>
                      </a:lnTo>
                      <a:lnTo>
                        <a:pt x="26" y="9"/>
                      </a:lnTo>
                      <a:lnTo>
                        <a:pt x="17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2" name="Freeform 60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3" name="Freeform 61"/>
                <p:cNvSpPr>
                  <a:spLocks/>
                </p:cNvSpPr>
                <p:nvPr/>
              </p:nvSpPr>
              <p:spPr bwMode="auto">
                <a:xfrm>
                  <a:off x="2811464" y="2541588"/>
                  <a:ext cx="55563" cy="28575"/>
                </a:xfrm>
                <a:custGeom>
                  <a:avLst/>
                  <a:gdLst>
                    <a:gd name="T0" fmla="*/ 2147483647 w 35"/>
                    <a:gd name="T1" fmla="*/ 0 h 18"/>
                    <a:gd name="T2" fmla="*/ 0 w 35"/>
                    <a:gd name="T3" fmla="*/ 2147483647 h 18"/>
                    <a:gd name="T4" fmla="*/ 2147483647 w 35"/>
                    <a:gd name="T5" fmla="*/ 2147483647 h 18"/>
                    <a:gd name="T6" fmla="*/ 2147483647 w 35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8"/>
                    <a:gd name="T14" fmla="*/ 35 w 3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8">
                      <a:moveTo>
                        <a:pt x="9" y="0"/>
                      </a:moveTo>
                      <a:lnTo>
                        <a:pt x="0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4" name="Freeform 62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5" name="Freeform 63"/>
                <p:cNvSpPr>
                  <a:spLocks/>
                </p:cNvSpPr>
                <p:nvPr/>
              </p:nvSpPr>
              <p:spPr bwMode="auto">
                <a:xfrm>
                  <a:off x="2063751" y="1863726"/>
                  <a:ext cx="333375" cy="111125"/>
                </a:xfrm>
                <a:custGeom>
                  <a:avLst/>
                  <a:gdLst>
                    <a:gd name="T0" fmla="*/ 2147483647 w 210"/>
                    <a:gd name="T1" fmla="*/ 2147483647 h 70"/>
                    <a:gd name="T2" fmla="*/ 2147483647 w 210"/>
                    <a:gd name="T3" fmla="*/ 0 h 70"/>
                    <a:gd name="T4" fmla="*/ 2147483647 w 210"/>
                    <a:gd name="T5" fmla="*/ 2147483647 h 70"/>
                    <a:gd name="T6" fmla="*/ 2147483647 w 210"/>
                    <a:gd name="T7" fmla="*/ 2147483647 h 70"/>
                    <a:gd name="T8" fmla="*/ 2147483647 w 210"/>
                    <a:gd name="T9" fmla="*/ 2147483647 h 70"/>
                    <a:gd name="T10" fmla="*/ 2147483647 w 210"/>
                    <a:gd name="T11" fmla="*/ 2147483647 h 70"/>
                    <a:gd name="T12" fmla="*/ 2147483647 w 210"/>
                    <a:gd name="T13" fmla="*/ 2147483647 h 70"/>
                    <a:gd name="T14" fmla="*/ 2147483647 w 210"/>
                    <a:gd name="T15" fmla="*/ 2147483647 h 70"/>
                    <a:gd name="T16" fmla="*/ 0 w 210"/>
                    <a:gd name="T17" fmla="*/ 2147483647 h 70"/>
                    <a:gd name="T18" fmla="*/ 2147483647 w 210"/>
                    <a:gd name="T19" fmla="*/ 2147483647 h 70"/>
                    <a:gd name="T20" fmla="*/ 2147483647 w 210"/>
                    <a:gd name="T21" fmla="*/ 2147483647 h 70"/>
                    <a:gd name="T22" fmla="*/ 2147483647 w 210"/>
                    <a:gd name="T23" fmla="*/ 2147483647 h 70"/>
                    <a:gd name="T24" fmla="*/ 2147483647 w 210"/>
                    <a:gd name="T25" fmla="*/ 2147483647 h 70"/>
                    <a:gd name="T26" fmla="*/ 2147483647 w 210"/>
                    <a:gd name="T27" fmla="*/ 2147483647 h 70"/>
                    <a:gd name="T28" fmla="*/ 2147483647 w 210"/>
                    <a:gd name="T29" fmla="*/ 2147483647 h 70"/>
                    <a:gd name="T30" fmla="*/ 2147483647 w 210"/>
                    <a:gd name="T31" fmla="*/ 2147483647 h 70"/>
                    <a:gd name="T32" fmla="*/ 2147483647 w 210"/>
                    <a:gd name="T33" fmla="*/ 2147483647 h 70"/>
                    <a:gd name="T34" fmla="*/ 2147483647 w 210"/>
                    <a:gd name="T35" fmla="*/ 2147483647 h 70"/>
                    <a:gd name="T36" fmla="*/ 2147483647 w 210"/>
                    <a:gd name="T37" fmla="*/ 0 h 70"/>
                    <a:gd name="T38" fmla="*/ 2147483647 w 210"/>
                    <a:gd name="T39" fmla="*/ 0 h 70"/>
                    <a:gd name="T40" fmla="*/ 2147483647 w 210"/>
                    <a:gd name="T41" fmla="*/ 2147483647 h 70"/>
                    <a:gd name="T42" fmla="*/ 2147483647 w 210"/>
                    <a:gd name="T43" fmla="*/ 0 h 70"/>
                    <a:gd name="T44" fmla="*/ 2147483647 w 210"/>
                    <a:gd name="T45" fmla="*/ 2147483647 h 70"/>
                    <a:gd name="T46" fmla="*/ 2147483647 w 210"/>
                    <a:gd name="T47" fmla="*/ 2147483647 h 70"/>
                    <a:gd name="T48" fmla="*/ 2147483647 w 210"/>
                    <a:gd name="T49" fmla="*/ 2147483647 h 7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70"/>
                    <a:gd name="T77" fmla="*/ 210 w 210"/>
                    <a:gd name="T78" fmla="*/ 70 h 7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70">
                      <a:moveTo>
                        <a:pt x="96" y="18"/>
                      </a:moveTo>
                      <a:lnTo>
                        <a:pt x="96" y="0"/>
                      </a:lnTo>
                      <a:lnTo>
                        <a:pt x="27" y="26"/>
                      </a:lnTo>
                      <a:lnTo>
                        <a:pt x="35" y="35"/>
                      </a:lnTo>
                      <a:lnTo>
                        <a:pt x="70" y="26"/>
                      </a:lnTo>
                      <a:lnTo>
                        <a:pt x="44" y="35"/>
                      </a:lnTo>
                      <a:lnTo>
                        <a:pt x="70" y="44"/>
                      </a:lnTo>
                      <a:lnTo>
                        <a:pt x="27" y="44"/>
                      </a:lnTo>
                      <a:lnTo>
                        <a:pt x="0" y="61"/>
                      </a:lnTo>
                      <a:lnTo>
                        <a:pt x="35" y="61"/>
                      </a:lnTo>
                      <a:lnTo>
                        <a:pt x="44" y="70"/>
                      </a:lnTo>
                      <a:lnTo>
                        <a:pt x="122" y="61"/>
                      </a:lnTo>
                      <a:lnTo>
                        <a:pt x="157" y="70"/>
                      </a:lnTo>
                      <a:lnTo>
                        <a:pt x="175" y="61"/>
                      </a:lnTo>
                      <a:lnTo>
                        <a:pt x="201" y="61"/>
                      </a:lnTo>
                      <a:lnTo>
                        <a:pt x="210" y="44"/>
                      </a:lnTo>
                      <a:lnTo>
                        <a:pt x="192" y="44"/>
                      </a:lnTo>
                      <a:lnTo>
                        <a:pt x="201" y="26"/>
                      </a:lnTo>
                      <a:lnTo>
                        <a:pt x="201" y="0"/>
                      </a:lnTo>
                      <a:lnTo>
                        <a:pt x="175" y="0"/>
                      </a:lnTo>
                      <a:lnTo>
                        <a:pt x="166" y="26"/>
                      </a:lnTo>
                      <a:lnTo>
                        <a:pt x="157" y="0"/>
                      </a:lnTo>
                      <a:lnTo>
                        <a:pt x="114" y="26"/>
                      </a:lnTo>
                      <a:lnTo>
                        <a:pt x="114" y="9"/>
                      </a:lnTo>
                      <a:lnTo>
                        <a:pt x="96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6" name="Freeform 64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7" name="Freeform 65"/>
                <p:cNvSpPr>
                  <a:spLocks/>
                </p:cNvSpPr>
                <p:nvPr/>
              </p:nvSpPr>
              <p:spPr bwMode="auto">
                <a:xfrm>
                  <a:off x="2174876" y="1766888"/>
                  <a:ext cx="138113" cy="41275"/>
                </a:xfrm>
                <a:custGeom>
                  <a:avLst/>
                  <a:gdLst>
                    <a:gd name="T0" fmla="*/ 0 w 87"/>
                    <a:gd name="T1" fmla="*/ 2147483647 h 26"/>
                    <a:gd name="T2" fmla="*/ 2147483647 w 87"/>
                    <a:gd name="T3" fmla="*/ 2147483647 h 26"/>
                    <a:gd name="T4" fmla="*/ 2147483647 w 87"/>
                    <a:gd name="T5" fmla="*/ 2147483647 h 26"/>
                    <a:gd name="T6" fmla="*/ 2147483647 w 87"/>
                    <a:gd name="T7" fmla="*/ 2147483647 h 26"/>
                    <a:gd name="T8" fmla="*/ 2147483647 w 87"/>
                    <a:gd name="T9" fmla="*/ 0 h 26"/>
                    <a:gd name="T10" fmla="*/ 2147483647 w 87"/>
                    <a:gd name="T11" fmla="*/ 0 h 26"/>
                    <a:gd name="T12" fmla="*/ 2147483647 w 87"/>
                    <a:gd name="T13" fmla="*/ 2147483647 h 26"/>
                    <a:gd name="T14" fmla="*/ 0 w 87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7"/>
                    <a:gd name="T25" fmla="*/ 0 h 26"/>
                    <a:gd name="T26" fmla="*/ 87 w 87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7" h="26">
                      <a:moveTo>
                        <a:pt x="0" y="26"/>
                      </a:moveTo>
                      <a:lnTo>
                        <a:pt x="26" y="26"/>
                      </a:lnTo>
                      <a:lnTo>
                        <a:pt x="52" y="18"/>
                      </a:lnTo>
                      <a:lnTo>
                        <a:pt x="79" y="9"/>
                      </a:lnTo>
                      <a:lnTo>
                        <a:pt x="87" y="0"/>
                      </a:lnTo>
                      <a:lnTo>
                        <a:pt x="70" y="0"/>
                      </a:lnTo>
                      <a:lnTo>
                        <a:pt x="18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8" name="Freeform 66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49" name="Freeform 67"/>
                <p:cNvSpPr>
                  <a:spLocks/>
                </p:cNvSpPr>
                <p:nvPr/>
              </p:nvSpPr>
              <p:spPr bwMode="auto">
                <a:xfrm>
                  <a:off x="2244726" y="1781176"/>
                  <a:ext cx="207963" cy="68263"/>
                </a:xfrm>
                <a:custGeom>
                  <a:avLst/>
                  <a:gdLst>
                    <a:gd name="T0" fmla="*/ 2147483647 w 131"/>
                    <a:gd name="T1" fmla="*/ 2147483647 h 43"/>
                    <a:gd name="T2" fmla="*/ 2147483647 w 131"/>
                    <a:gd name="T3" fmla="*/ 2147483647 h 43"/>
                    <a:gd name="T4" fmla="*/ 2147483647 w 131"/>
                    <a:gd name="T5" fmla="*/ 2147483647 h 43"/>
                    <a:gd name="T6" fmla="*/ 2147483647 w 131"/>
                    <a:gd name="T7" fmla="*/ 2147483647 h 43"/>
                    <a:gd name="T8" fmla="*/ 2147483647 w 131"/>
                    <a:gd name="T9" fmla="*/ 2147483647 h 43"/>
                    <a:gd name="T10" fmla="*/ 2147483647 w 131"/>
                    <a:gd name="T11" fmla="*/ 2147483647 h 43"/>
                    <a:gd name="T12" fmla="*/ 2147483647 w 131"/>
                    <a:gd name="T13" fmla="*/ 0 h 43"/>
                    <a:gd name="T14" fmla="*/ 2147483647 w 131"/>
                    <a:gd name="T15" fmla="*/ 2147483647 h 43"/>
                    <a:gd name="T16" fmla="*/ 2147483647 w 131"/>
                    <a:gd name="T17" fmla="*/ 2147483647 h 43"/>
                    <a:gd name="T18" fmla="*/ 2147483647 w 131"/>
                    <a:gd name="T19" fmla="*/ 2147483647 h 43"/>
                    <a:gd name="T20" fmla="*/ 2147483647 w 131"/>
                    <a:gd name="T21" fmla="*/ 2147483647 h 43"/>
                    <a:gd name="T22" fmla="*/ 0 w 131"/>
                    <a:gd name="T23" fmla="*/ 2147483647 h 43"/>
                    <a:gd name="T24" fmla="*/ 2147483647 w 131"/>
                    <a:gd name="T25" fmla="*/ 2147483647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43"/>
                    <a:gd name="T41" fmla="*/ 131 w 13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43">
                      <a:moveTo>
                        <a:pt x="35" y="26"/>
                      </a:moveTo>
                      <a:lnTo>
                        <a:pt x="17" y="43"/>
                      </a:lnTo>
                      <a:lnTo>
                        <a:pt x="43" y="43"/>
                      </a:lnTo>
                      <a:lnTo>
                        <a:pt x="104" y="35"/>
                      </a:lnTo>
                      <a:lnTo>
                        <a:pt x="131" y="17"/>
                      </a:lnTo>
                      <a:lnTo>
                        <a:pt x="113" y="17"/>
                      </a:lnTo>
                      <a:lnTo>
                        <a:pt x="122" y="0"/>
                      </a:lnTo>
                      <a:lnTo>
                        <a:pt x="104" y="9"/>
                      </a:lnTo>
                      <a:lnTo>
                        <a:pt x="87" y="26"/>
                      </a:lnTo>
                      <a:lnTo>
                        <a:pt x="52" y="17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35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0" name="Freeform 68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1" name="Freeform 69"/>
                <p:cNvSpPr>
                  <a:spLocks/>
                </p:cNvSpPr>
                <p:nvPr/>
              </p:nvSpPr>
              <p:spPr bwMode="auto">
                <a:xfrm>
                  <a:off x="2382839" y="1739901"/>
                  <a:ext cx="96838" cy="41275"/>
                </a:xfrm>
                <a:custGeom>
                  <a:avLst/>
                  <a:gdLst>
                    <a:gd name="T0" fmla="*/ 2147483647 w 61"/>
                    <a:gd name="T1" fmla="*/ 0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2147483647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0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0"/>
                      </a:move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26"/>
                      </a:lnTo>
                      <a:lnTo>
                        <a:pt x="26" y="17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2" name="Freeform 70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3" name="Freeform 71"/>
                <p:cNvSpPr>
                  <a:spLocks/>
                </p:cNvSpPr>
                <p:nvPr/>
              </p:nvSpPr>
              <p:spPr bwMode="auto">
                <a:xfrm>
                  <a:off x="2438401" y="1808163"/>
                  <a:ext cx="41275" cy="41275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2147483647 w 26"/>
                    <a:gd name="T3" fmla="*/ 0 h 26"/>
                    <a:gd name="T4" fmla="*/ 0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4" name="Freeform 72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5" name="Freeform 73"/>
                <p:cNvSpPr>
                  <a:spLocks/>
                </p:cNvSpPr>
                <p:nvPr/>
              </p:nvSpPr>
              <p:spPr bwMode="auto">
                <a:xfrm>
                  <a:off x="2382839" y="1849438"/>
                  <a:ext cx="41275" cy="28575"/>
                </a:xfrm>
                <a:custGeom>
                  <a:avLst/>
                  <a:gdLst>
                    <a:gd name="T0" fmla="*/ 0 w 26"/>
                    <a:gd name="T1" fmla="*/ 2147483647 h 18"/>
                    <a:gd name="T2" fmla="*/ 2147483647 w 26"/>
                    <a:gd name="T3" fmla="*/ 2147483647 h 18"/>
                    <a:gd name="T4" fmla="*/ 2147483647 w 26"/>
                    <a:gd name="T5" fmla="*/ 0 h 18"/>
                    <a:gd name="T6" fmla="*/ 0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0" y="9"/>
                      </a:moveTo>
                      <a:lnTo>
                        <a:pt x="17" y="18"/>
                      </a:lnTo>
                      <a:lnTo>
                        <a:pt x="26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6" name="Freeform 74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7" name="Freeform 75"/>
                <p:cNvSpPr>
                  <a:spLocks/>
                </p:cNvSpPr>
                <p:nvPr/>
              </p:nvSpPr>
              <p:spPr bwMode="auto">
                <a:xfrm>
                  <a:off x="2438401" y="1849438"/>
                  <a:ext cx="111125" cy="69850"/>
                </a:xfrm>
                <a:custGeom>
                  <a:avLst/>
                  <a:gdLst>
                    <a:gd name="T0" fmla="*/ 0 w 70"/>
                    <a:gd name="T1" fmla="*/ 2147483647 h 44"/>
                    <a:gd name="T2" fmla="*/ 2147483647 w 70"/>
                    <a:gd name="T3" fmla="*/ 2147483647 h 44"/>
                    <a:gd name="T4" fmla="*/ 2147483647 w 70"/>
                    <a:gd name="T5" fmla="*/ 2147483647 h 44"/>
                    <a:gd name="T6" fmla="*/ 2147483647 w 70"/>
                    <a:gd name="T7" fmla="*/ 2147483647 h 44"/>
                    <a:gd name="T8" fmla="*/ 2147483647 w 70"/>
                    <a:gd name="T9" fmla="*/ 2147483647 h 44"/>
                    <a:gd name="T10" fmla="*/ 2147483647 w 70"/>
                    <a:gd name="T11" fmla="*/ 2147483647 h 44"/>
                    <a:gd name="T12" fmla="*/ 2147483647 w 70"/>
                    <a:gd name="T13" fmla="*/ 2147483647 h 44"/>
                    <a:gd name="T14" fmla="*/ 2147483647 w 70"/>
                    <a:gd name="T15" fmla="*/ 0 h 44"/>
                    <a:gd name="T16" fmla="*/ 2147483647 w 70"/>
                    <a:gd name="T17" fmla="*/ 0 h 44"/>
                    <a:gd name="T18" fmla="*/ 2147483647 w 70"/>
                    <a:gd name="T19" fmla="*/ 2147483647 h 44"/>
                    <a:gd name="T20" fmla="*/ 0 w 70"/>
                    <a:gd name="T21" fmla="*/ 2147483647 h 44"/>
                    <a:gd name="T22" fmla="*/ 0 w 70"/>
                    <a:gd name="T23" fmla="*/ 2147483647 h 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44"/>
                    <a:gd name="T38" fmla="*/ 70 w 70"/>
                    <a:gd name="T39" fmla="*/ 44 h 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17" y="44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61" y="27"/>
                      </a:lnTo>
                      <a:lnTo>
                        <a:pt x="61" y="9"/>
                      </a:lnTo>
                      <a:lnTo>
                        <a:pt x="70" y="0"/>
                      </a:lnTo>
                      <a:lnTo>
                        <a:pt x="43" y="0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8" name="Rectangle 76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59" name="Rectangle 77"/>
                <p:cNvSpPr>
                  <a:spLocks noChangeArrowheads="1"/>
                </p:cNvSpPr>
                <p:nvPr/>
              </p:nvSpPr>
              <p:spPr bwMode="auto">
                <a:xfrm>
                  <a:off x="2506664" y="1766888"/>
                  <a:ext cx="14288" cy="14288"/>
                </a:xfrm>
                <a:prstGeom prst="rect">
                  <a:avLst/>
                </a:pr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0" name="Freeform 78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1" name="Freeform 79"/>
                <p:cNvSpPr>
                  <a:spLocks/>
                </p:cNvSpPr>
                <p:nvPr/>
              </p:nvSpPr>
              <p:spPr bwMode="auto">
                <a:xfrm>
                  <a:off x="2493964" y="1795463"/>
                  <a:ext cx="55563" cy="26988"/>
                </a:xfrm>
                <a:custGeom>
                  <a:avLst/>
                  <a:gdLst>
                    <a:gd name="T0" fmla="*/ 2147483647 w 35"/>
                    <a:gd name="T1" fmla="*/ 2147483647 h 17"/>
                    <a:gd name="T2" fmla="*/ 2147483647 w 35"/>
                    <a:gd name="T3" fmla="*/ 0 h 17"/>
                    <a:gd name="T4" fmla="*/ 0 w 35"/>
                    <a:gd name="T5" fmla="*/ 2147483647 h 17"/>
                    <a:gd name="T6" fmla="*/ 2147483647 w 35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5"/>
                    <a:gd name="T13" fmla="*/ 0 h 17"/>
                    <a:gd name="T14" fmla="*/ 35 w 35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5" h="17">
                      <a:moveTo>
                        <a:pt x="26" y="17"/>
                      </a:moveTo>
                      <a:lnTo>
                        <a:pt x="35" y="0"/>
                      </a:lnTo>
                      <a:lnTo>
                        <a:pt x="0" y="8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2" name="Freeform 80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3" name="Freeform 81"/>
                <p:cNvSpPr>
                  <a:spLocks/>
                </p:cNvSpPr>
                <p:nvPr/>
              </p:nvSpPr>
              <p:spPr bwMode="auto">
                <a:xfrm>
                  <a:off x="2549526" y="1781176"/>
                  <a:ext cx="68263" cy="55563"/>
                </a:xfrm>
                <a:custGeom>
                  <a:avLst/>
                  <a:gdLst>
                    <a:gd name="T0" fmla="*/ 0 w 43"/>
                    <a:gd name="T1" fmla="*/ 2147483647 h 35"/>
                    <a:gd name="T2" fmla="*/ 0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0 h 35"/>
                    <a:gd name="T8" fmla="*/ 0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35"/>
                    <a:gd name="T17" fmla="*/ 43 w 43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35">
                      <a:moveTo>
                        <a:pt x="0" y="17"/>
                      </a:moveTo>
                      <a:lnTo>
                        <a:pt x="0" y="35"/>
                      </a:lnTo>
                      <a:lnTo>
                        <a:pt x="43" y="9"/>
                      </a:lnTo>
                      <a:lnTo>
                        <a:pt x="8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4" name="Freeform 82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5" name="Freeform 83"/>
                <p:cNvSpPr>
                  <a:spLocks/>
                </p:cNvSpPr>
                <p:nvPr/>
              </p:nvSpPr>
              <p:spPr bwMode="auto">
                <a:xfrm>
                  <a:off x="1995489" y="1836738"/>
                  <a:ext cx="207963" cy="82550"/>
                </a:xfrm>
                <a:custGeom>
                  <a:avLst/>
                  <a:gdLst>
                    <a:gd name="T0" fmla="*/ 2147483647 w 131"/>
                    <a:gd name="T1" fmla="*/ 0 h 52"/>
                    <a:gd name="T2" fmla="*/ 2147483647 w 131"/>
                    <a:gd name="T3" fmla="*/ 2147483647 h 52"/>
                    <a:gd name="T4" fmla="*/ 2147483647 w 131"/>
                    <a:gd name="T5" fmla="*/ 2147483647 h 52"/>
                    <a:gd name="T6" fmla="*/ 0 w 131"/>
                    <a:gd name="T7" fmla="*/ 2147483647 h 52"/>
                    <a:gd name="T8" fmla="*/ 0 w 131"/>
                    <a:gd name="T9" fmla="*/ 2147483647 h 52"/>
                    <a:gd name="T10" fmla="*/ 2147483647 w 131"/>
                    <a:gd name="T11" fmla="*/ 2147483647 h 52"/>
                    <a:gd name="T12" fmla="*/ 2147483647 w 131"/>
                    <a:gd name="T13" fmla="*/ 2147483647 h 52"/>
                    <a:gd name="T14" fmla="*/ 2147483647 w 131"/>
                    <a:gd name="T15" fmla="*/ 0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1"/>
                    <a:gd name="T25" fmla="*/ 0 h 52"/>
                    <a:gd name="T26" fmla="*/ 131 w 131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1" h="52">
                      <a:moveTo>
                        <a:pt x="70" y="0"/>
                      </a:moveTo>
                      <a:lnTo>
                        <a:pt x="43" y="8"/>
                      </a:lnTo>
                      <a:lnTo>
                        <a:pt x="0" y="26"/>
                      </a:lnTo>
                      <a:lnTo>
                        <a:pt x="0" y="52"/>
                      </a:lnTo>
                      <a:lnTo>
                        <a:pt x="17" y="52"/>
                      </a:lnTo>
                      <a:lnTo>
                        <a:pt x="131" y="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6" name="Freeform 84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7" name="Freeform 85"/>
                <p:cNvSpPr>
                  <a:spLocks/>
                </p:cNvSpPr>
                <p:nvPr/>
              </p:nvSpPr>
              <p:spPr bwMode="auto">
                <a:xfrm>
                  <a:off x="2409826" y="1946276"/>
                  <a:ext cx="84138" cy="28575"/>
                </a:xfrm>
                <a:custGeom>
                  <a:avLst/>
                  <a:gdLst>
                    <a:gd name="T0" fmla="*/ 2147483647 w 53"/>
                    <a:gd name="T1" fmla="*/ 2147483647 h 18"/>
                    <a:gd name="T2" fmla="*/ 2147483647 w 53"/>
                    <a:gd name="T3" fmla="*/ 0 h 18"/>
                    <a:gd name="T4" fmla="*/ 0 w 53"/>
                    <a:gd name="T5" fmla="*/ 2147483647 h 18"/>
                    <a:gd name="T6" fmla="*/ 2147483647 w 53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18"/>
                    <a:gd name="T14" fmla="*/ 53 w 53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18">
                      <a:moveTo>
                        <a:pt x="53" y="18"/>
                      </a:moveTo>
                      <a:lnTo>
                        <a:pt x="35" y="0"/>
                      </a:lnTo>
                      <a:lnTo>
                        <a:pt x="0" y="18"/>
                      </a:lnTo>
                      <a:lnTo>
                        <a:pt x="53" y="1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8" name="Freeform 86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69" name="Freeform 87"/>
                <p:cNvSpPr>
                  <a:spLocks/>
                </p:cNvSpPr>
                <p:nvPr/>
              </p:nvSpPr>
              <p:spPr bwMode="auto">
                <a:xfrm>
                  <a:off x="2576514" y="2292351"/>
                  <a:ext cx="26988" cy="28575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2147483647 w 17"/>
                    <a:gd name="T3" fmla="*/ 0 h 18"/>
                    <a:gd name="T4" fmla="*/ 0 w 17"/>
                    <a:gd name="T5" fmla="*/ 0 h 18"/>
                    <a:gd name="T6" fmla="*/ 0 w 17"/>
                    <a:gd name="T7" fmla="*/ 2147483647 h 18"/>
                    <a:gd name="T8" fmla="*/ 2147483647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0" name="Freeform 88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1" name="Freeform 89"/>
                <p:cNvSpPr>
                  <a:spLocks/>
                </p:cNvSpPr>
                <p:nvPr/>
              </p:nvSpPr>
              <p:spPr bwMode="auto">
                <a:xfrm>
                  <a:off x="1330326" y="2347913"/>
                  <a:ext cx="41275" cy="69850"/>
                </a:xfrm>
                <a:custGeom>
                  <a:avLst/>
                  <a:gdLst>
                    <a:gd name="T0" fmla="*/ 0 w 26"/>
                    <a:gd name="T1" fmla="*/ 2147483647 h 44"/>
                    <a:gd name="T2" fmla="*/ 2147483647 w 26"/>
                    <a:gd name="T3" fmla="*/ 2147483647 h 44"/>
                    <a:gd name="T4" fmla="*/ 2147483647 w 26"/>
                    <a:gd name="T5" fmla="*/ 2147483647 h 44"/>
                    <a:gd name="T6" fmla="*/ 2147483647 w 26"/>
                    <a:gd name="T7" fmla="*/ 0 h 44"/>
                    <a:gd name="T8" fmla="*/ 0 w 26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44"/>
                    <a:gd name="T17" fmla="*/ 26 w 26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44">
                      <a:moveTo>
                        <a:pt x="0" y="9"/>
                      </a:moveTo>
                      <a:lnTo>
                        <a:pt x="9" y="44"/>
                      </a:lnTo>
                      <a:lnTo>
                        <a:pt x="26" y="9"/>
                      </a:lnTo>
                      <a:lnTo>
                        <a:pt x="9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2" name="Freeform 90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3" name="Freeform 91"/>
                <p:cNvSpPr>
                  <a:spLocks/>
                </p:cNvSpPr>
                <p:nvPr/>
              </p:nvSpPr>
              <p:spPr bwMode="auto">
                <a:xfrm>
                  <a:off x="1358901" y="2459038"/>
                  <a:ext cx="82550" cy="55563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0 h 35"/>
                    <a:gd name="T4" fmla="*/ 0 w 52"/>
                    <a:gd name="T5" fmla="*/ 0 h 35"/>
                    <a:gd name="T6" fmla="*/ 2147483647 w 52"/>
                    <a:gd name="T7" fmla="*/ 2147483647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7" y="17"/>
                      </a:lnTo>
                      <a:lnTo>
                        <a:pt x="43" y="35"/>
                      </a:lnTo>
                      <a:lnTo>
                        <a:pt x="52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4" name="Freeform 92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5" name="Freeform 93"/>
                <p:cNvSpPr>
                  <a:spLocks/>
                </p:cNvSpPr>
                <p:nvPr/>
              </p:nvSpPr>
              <p:spPr bwMode="auto">
                <a:xfrm>
                  <a:off x="1344614" y="2984501"/>
                  <a:ext cx="719138" cy="525463"/>
                </a:xfrm>
                <a:custGeom>
                  <a:avLst/>
                  <a:gdLst>
                    <a:gd name="T0" fmla="*/ 2147483647 w 453"/>
                    <a:gd name="T1" fmla="*/ 2147483647 h 331"/>
                    <a:gd name="T2" fmla="*/ 2147483647 w 453"/>
                    <a:gd name="T3" fmla="*/ 2147483647 h 331"/>
                    <a:gd name="T4" fmla="*/ 2147483647 w 453"/>
                    <a:gd name="T5" fmla="*/ 2147483647 h 331"/>
                    <a:gd name="T6" fmla="*/ 2147483647 w 453"/>
                    <a:gd name="T7" fmla="*/ 2147483647 h 331"/>
                    <a:gd name="T8" fmla="*/ 2147483647 w 453"/>
                    <a:gd name="T9" fmla="*/ 2147483647 h 331"/>
                    <a:gd name="T10" fmla="*/ 2147483647 w 453"/>
                    <a:gd name="T11" fmla="*/ 2147483647 h 331"/>
                    <a:gd name="T12" fmla="*/ 2147483647 w 453"/>
                    <a:gd name="T13" fmla="*/ 2147483647 h 331"/>
                    <a:gd name="T14" fmla="*/ 2147483647 w 453"/>
                    <a:gd name="T15" fmla="*/ 2147483647 h 331"/>
                    <a:gd name="T16" fmla="*/ 2147483647 w 453"/>
                    <a:gd name="T17" fmla="*/ 2147483647 h 331"/>
                    <a:gd name="T18" fmla="*/ 2147483647 w 453"/>
                    <a:gd name="T19" fmla="*/ 2147483647 h 331"/>
                    <a:gd name="T20" fmla="*/ 2147483647 w 453"/>
                    <a:gd name="T21" fmla="*/ 2147483647 h 331"/>
                    <a:gd name="T22" fmla="*/ 2147483647 w 453"/>
                    <a:gd name="T23" fmla="*/ 2147483647 h 331"/>
                    <a:gd name="T24" fmla="*/ 2147483647 w 453"/>
                    <a:gd name="T25" fmla="*/ 2147483647 h 331"/>
                    <a:gd name="T26" fmla="*/ 2147483647 w 453"/>
                    <a:gd name="T27" fmla="*/ 2147483647 h 331"/>
                    <a:gd name="T28" fmla="*/ 2147483647 w 453"/>
                    <a:gd name="T29" fmla="*/ 2147483647 h 331"/>
                    <a:gd name="T30" fmla="*/ 2147483647 w 453"/>
                    <a:gd name="T31" fmla="*/ 2147483647 h 331"/>
                    <a:gd name="T32" fmla="*/ 2147483647 w 453"/>
                    <a:gd name="T33" fmla="*/ 2147483647 h 331"/>
                    <a:gd name="T34" fmla="*/ 2147483647 w 453"/>
                    <a:gd name="T35" fmla="*/ 2147483647 h 331"/>
                    <a:gd name="T36" fmla="*/ 2147483647 w 453"/>
                    <a:gd name="T37" fmla="*/ 2147483647 h 331"/>
                    <a:gd name="T38" fmla="*/ 2147483647 w 453"/>
                    <a:gd name="T39" fmla="*/ 2147483647 h 331"/>
                    <a:gd name="T40" fmla="*/ 2147483647 w 453"/>
                    <a:gd name="T41" fmla="*/ 2147483647 h 331"/>
                    <a:gd name="T42" fmla="*/ 2147483647 w 453"/>
                    <a:gd name="T43" fmla="*/ 2147483647 h 331"/>
                    <a:gd name="T44" fmla="*/ 2147483647 w 453"/>
                    <a:gd name="T45" fmla="*/ 2147483647 h 331"/>
                    <a:gd name="T46" fmla="*/ 2147483647 w 453"/>
                    <a:gd name="T47" fmla="*/ 2147483647 h 331"/>
                    <a:gd name="T48" fmla="*/ 2147483647 w 453"/>
                    <a:gd name="T49" fmla="*/ 2147483647 h 331"/>
                    <a:gd name="T50" fmla="*/ 2147483647 w 453"/>
                    <a:gd name="T51" fmla="*/ 2147483647 h 331"/>
                    <a:gd name="T52" fmla="*/ 2147483647 w 453"/>
                    <a:gd name="T53" fmla="*/ 2147483647 h 331"/>
                    <a:gd name="T54" fmla="*/ 2147483647 w 453"/>
                    <a:gd name="T55" fmla="*/ 2147483647 h 331"/>
                    <a:gd name="T56" fmla="*/ 2147483647 w 453"/>
                    <a:gd name="T57" fmla="*/ 2147483647 h 331"/>
                    <a:gd name="T58" fmla="*/ 2147483647 w 453"/>
                    <a:gd name="T59" fmla="*/ 2147483647 h 331"/>
                    <a:gd name="T60" fmla="*/ 2147483647 w 453"/>
                    <a:gd name="T61" fmla="*/ 0 h 331"/>
                    <a:gd name="T62" fmla="*/ 0 w 453"/>
                    <a:gd name="T63" fmla="*/ 2147483647 h 33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53"/>
                    <a:gd name="T97" fmla="*/ 0 h 331"/>
                    <a:gd name="T98" fmla="*/ 453 w 453"/>
                    <a:gd name="T99" fmla="*/ 331 h 33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53" h="331">
                      <a:moveTo>
                        <a:pt x="0" y="26"/>
                      </a:moveTo>
                      <a:lnTo>
                        <a:pt x="9" y="44"/>
                      </a:lnTo>
                      <a:lnTo>
                        <a:pt x="17" y="61"/>
                      </a:lnTo>
                      <a:lnTo>
                        <a:pt x="26" y="79"/>
                      </a:lnTo>
                      <a:lnTo>
                        <a:pt x="17" y="79"/>
                      </a:lnTo>
                      <a:lnTo>
                        <a:pt x="44" y="122"/>
                      </a:lnTo>
                      <a:lnTo>
                        <a:pt x="44" y="140"/>
                      </a:lnTo>
                      <a:lnTo>
                        <a:pt x="70" y="183"/>
                      </a:lnTo>
                      <a:lnTo>
                        <a:pt x="79" y="166"/>
                      </a:lnTo>
                      <a:lnTo>
                        <a:pt x="70" y="148"/>
                      </a:lnTo>
                      <a:lnTo>
                        <a:pt x="70" y="140"/>
                      </a:lnTo>
                      <a:lnTo>
                        <a:pt x="61" y="131"/>
                      </a:lnTo>
                      <a:lnTo>
                        <a:pt x="61" y="113"/>
                      </a:lnTo>
                      <a:lnTo>
                        <a:pt x="44" y="96"/>
                      </a:lnTo>
                      <a:lnTo>
                        <a:pt x="44" y="79"/>
                      </a:lnTo>
                      <a:lnTo>
                        <a:pt x="26" y="44"/>
                      </a:lnTo>
                      <a:lnTo>
                        <a:pt x="35" y="18"/>
                      </a:lnTo>
                      <a:lnTo>
                        <a:pt x="52" y="18"/>
                      </a:lnTo>
                      <a:lnTo>
                        <a:pt x="96" y="113"/>
                      </a:lnTo>
                      <a:lnTo>
                        <a:pt x="96" y="122"/>
                      </a:lnTo>
                      <a:lnTo>
                        <a:pt x="113" y="140"/>
                      </a:lnTo>
                      <a:lnTo>
                        <a:pt x="140" y="166"/>
                      </a:lnTo>
                      <a:lnTo>
                        <a:pt x="140" y="201"/>
                      </a:lnTo>
                      <a:lnTo>
                        <a:pt x="140" y="218"/>
                      </a:lnTo>
                      <a:lnTo>
                        <a:pt x="148" y="244"/>
                      </a:lnTo>
                      <a:lnTo>
                        <a:pt x="166" y="244"/>
                      </a:lnTo>
                      <a:lnTo>
                        <a:pt x="166" y="262"/>
                      </a:lnTo>
                      <a:lnTo>
                        <a:pt x="192" y="262"/>
                      </a:lnTo>
                      <a:lnTo>
                        <a:pt x="192" y="270"/>
                      </a:lnTo>
                      <a:lnTo>
                        <a:pt x="218" y="288"/>
                      </a:lnTo>
                      <a:lnTo>
                        <a:pt x="235" y="288"/>
                      </a:lnTo>
                      <a:lnTo>
                        <a:pt x="279" y="305"/>
                      </a:lnTo>
                      <a:lnTo>
                        <a:pt x="305" y="296"/>
                      </a:lnTo>
                      <a:lnTo>
                        <a:pt x="349" y="331"/>
                      </a:lnTo>
                      <a:lnTo>
                        <a:pt x="349" y="296"/>
                      </a:lnTo>
                      <a:lnTo>
                        <a:pt x="384" y="296"/>
                      </a:lnTo>
                      <a:lnTo>
                        <a:pt x="384" y="288"/>
                      </a:lnTo>
                      <a:lnTo>
                        <a:pt x="366" y="270"/>
                      </a:lnTo>
                      <a:lnTo>
                        <a:pt x="401" y="262"/>
                      </a:lnTo>
                      <a:lnTo>
                        <a:pt x="419" y="262"/>
                      </a:lnTo>
                      <a:lnTo>
                        <a:pt x="436" y="244"/>
                      </a:lnTo>
                      <a:lnTo>
                        <a:pt x="436" y="227"/>
                      </a:lnTo>
                      <a:lnTo>
                        <a:pt x="453" y="209"/>
                      </a:lnTo>
                      <a:lnTo>
                        <a:pt x="445" y="201"/>
                      </a:lnTo>
                      <a:lnTo>
                        <a:pt x="392" y="209"/>
                      </a:lnTo>
                      <a:lnTo>
                        <a:pt x="366" y="253"/>
                      </a:lnTo>
                      <a:lnTo>
                        <a:pt x="340" y="253"/>
                      </a:lnTo>
                      <a:lnTo>
                        <a:pt x="314" y="262"/>
                      </a:lnTo>
                      <a:lnTo>
                        <a:pt x="279" y="218"/>
                      </a:lnTo>
                      <a:lnTo>
                        <a:pt x="270" y="148"/>
                      </a:lnTo>
                      <a:lnTo>
                        <a:pt x="288" y="131"/>
                      </a:lnTo>
                      <a:lnTo>
                        <a:pt x="288" y="122"/>
                      </a:lnTo>
                      <a:lnTo>
                        <a:pt x="270" y="113"/>
                      </a:lnTo>
                      <a:lnTo>
                        <a:pt x="270" y="70"/>
                      </a:lnTo>
                      <a:lnTo>
                        <a:pt x="244" y="44"/>
                      </a:lnTo>
                      <a:lnTo>
                        <a:pt x="227" y="52"/>
                      </a:lnTo>
                      <a:lnTo>
                        <a:pt x="218" y="61"/>
                      </a:lnTo>
                      <a:lnTo>
                        <a:pt x="209" y="61"/>
                      </a:lnTo>
                      <a:lnTo>
                        <a:pt x="183" y="9"/>
                      </a:lnTo>
                      <a:lnTo>
                        <a:pt x="157" y="9"/>
                      </a:lnTo>
                      <a:lnTo>
                        <a:pt x="122" y="18"/>
                      </a:lnTo>
                      <a:lnTo>
                        <a:pt x="61" y="0"/>
                      </a:lnTo>
                      <a:lnTo>
                        <a:pt x="9" y="0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6" name="Freeform 94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7" name="Freeform 95"/>
                <p:cNvSpPr>
                  <a:spLocks/>
                </p:cNvSpPr>
                <p:nvPr/>
              </p:nvSpPr>
              <p:spPr bwMode="auto">
                <a:xfrm>
                  <a:off x="1898651" y="3400426"/>
                  <a:ext cx="111125" cy="123825"/>
                </a:xfrm>
                <a:custGeom>
                  <a:avLst/>
                  <a:gdLst>
                    <a:gd name="T0" fmla="*/ 2147483647 w 70"/>
                    <a:gd name="T1" fmla="*/ 2147483647 h 78"/>
                    <a:gd name="T2" fmla="*/ 2147483647 w 70"/>
                    <a:gd name="T3" fmla="*/ 2147483647 h 78"/>
                    <a:gd name="T4" fmla="*/ 2147483647 w 70"/>
                    <a:gd name="T5" fmla="*/ 2147483647 h 78"/>
                    <a:gd name="T6" fmla="*/ 0 w 70"/>
                    <a:gd name="T7" fmla="*/ 2147483647 h 78"/>
                    <a:gd name="T8" fmla="*/ 0 w 70"/>
                    <a:gd name="T9" fmla="*/ 2147483647 h 78"/>
                    <a:gd name="T10" fmla="*/ 2147483647 w 70"/>
                    <a:gd name="T11" fmla="*/ 2147483647 h 78"/>
                    <a:gd name="T12" fmla="*/ 2147483647 w 70"/>
                    <a:gd name="T13" fmla="*/ 2147483647 h 78"/>
                    <a:gd name="T14" fmla="*/ 2147483647 w 70"/>
                    <a:gd name="T15" fmla="*/ 2147483647 h 78"/>
                    <a:gd name="T16" fmla="*/ 2147483647 w 70"/>
                    <a:gd name="T17" fmla="*/ 2147483647 h 78"/>
                    <a:gd name="T18" fmla="*/ 2147483647 w 70"/>
                    <a:gd name="T19" fmla="*/ 2147483647 h 78"/>
                    <a:gd name="T20" fmla="*/ 2147483647 w 70"/>
                    <a:gd name="T21" fmla="*/ 0 h 78"/>
                    <a:gd name="T22" fmla="*/ 2147483647 w 70"/>
                    <a:gd name="T23" fmla="*/ 2147483647 h 7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0"/>
                    <a:gd name="T37" fmla="*/ 0 h 78"/>
                    <a:gd name="T38" fmla="*/ 70 w 70"/>
                    <a:gd name="T39" fmla="*/ 78 h 7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0" h="78">
                      <a:moveTo>
                        <a:pt x="17" y="8"/>
                      </a:moveTo>
                      <a:lnTo>
                        <a:pt x="35" y="26"/>
                      </a:lnTo>
                      <a:lnTo>
                        <a:pt x="35" y="34"/>
                      </a:lnTo>
                      <a:lnTo>
                        <a:pt x="0" y="34"/>
                      </a:lnTo>
                      <a:lnTo>
                        <a:pt x="0" y="69"/>
                      </a:lnTo>
                      <a:lnTo>
                        <a:pt x="35" y="78"/>
                      </a:lnTo>
                      <a:lnTo>
                        <a:pt x="52" y="69"/>
                      </a:lnTo>
                      <a:lnTo>
                        <a:pt x="70" y="52"/>
                      </a:lnTo>
                      <a:lnTo>
                        <a:pt x="70" y="43"/>
                      </a:lnTo>
                      <a:lnTo>
                        <a:pt x="52" y="43"/>
                      </a:lnTo>
                      <a:lnTo>
                        <a:pt x="52" y="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8" name="Freeform 96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79" name="Freeform 97"/>
                <p:cNvSpPr>
                  <a:spLocks/>
                </p:cNvSpPr>
                <p:nvPr/>
              </p:nvSpPr>
              <p:spPr bwMode="auto">
                <a:xfrm>
                  <a:off x="1954214" y="3509963"/>
                  <a:ext cx="68263" cy="41275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0 w 43"/>
                    <a:gd name="T3" fmla="*/ 2147483647 h 26"/>
                    <a:gd name="T4" fmla="*/ 2147483647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0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35" y="26"/>
                      </a:lnTo>
                      <a:lnTo>
                        <a:pt x="43" y="9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0" name="Freeform 98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1" name="Freeform 99"/>
                <p:cNvSpPr>
                  <a:spLocks/>
                </p:cNvSpPr>
                <p:nvPr/>
              </p:nvSpPr>
              <p:spPr bwMode="auto">
                <a:xfrm>
                  <a:off x="1981201" y="3400426"/>
                  <a:ext cx="41275" cy="68263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0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43"/>
                    <a:gd name="T20" fmla="*/ 26 w 26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43">
                      <a:moveTo>
                        <a:pt x="18" y="0"/>
                      </a:move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18" y="43"/>
                      </a:lnTo>
                      <a:lnTo>
                        <a:pt x="26" y="17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2" name="Freeform 100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3" name="Freeform 101"/>
                <p:cNvSpPr>
                  <a:spLocks/>
                </p:cNvSpPr>
                <p:nvPr/>
              </p:nvSpPr>
              <p:spPr bwMode="auto">
                <a:xfrm>
                  <a:off x="1981201" y="3468688"/>
                  <a:ext cx="152400" cy="69850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0 w 96"/>
                    <a:gd name="T3" fmla="*/ 2147483647 h 44"/>
                    <a:gd name="T4" fmla="*/ 2147483647 w 96"/>
                    <a:gd name="T5" fmla="*/ 2147483647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2147483647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0 h 44"/>
                    <a:gd name="T16" fmla="*/ 2147483647 w 96"/>
                    <a:gd name="T17" fmla="*/ 0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18" y="9"/>
                      </a:moveTo>
                      <a:lnTo>
                        <a:pt x="0" y="26"/>
                      </a:lnTo>
                      <a:lnTo>
                        <a:pt x="26" y="26"/>
                      </a:lnTo>
                      <a:lnTo>
                        <a:pt x="26" y="35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35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4" name="Freeform 102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5" name="Freeform 103"/>
                <p:cNvSpPr>
                  <a:spLocks/>
                </p:cNvSpPr>
                <p:nvPr/>
              </p:nvSpPr>
              <p:spPr bwMode="auto">
                <a:xfrm>
                  <a:off x="2022476" y="3482976"/>
                  <a:ext cx="111125" cy="111125"/>
                </a:xfrm>
                <a:custGeom>
                  <a:avLst/>
                  <a:gdLst>
                    <a:gd name="T0" fmla="*/ 0 w 70"/>
                    <a:gd name="T1" fmla="*/ 2147483647 h 70"/>
                    <a:gd name="T2" fmla="*/ 2147483647 w 70"/>
                    <a:gd name="T3" fmla="*/ 2147483647 h 70"/>
                    <a:gd name="T4" fmla="*/ 2147483647 w 70"/>
                    <a:gd name="T5" fmla="*/ 2147483647 h 70"/>
                    <a:gd name="T6" fmla="*/ 2147483647 w 70"/>
                    <a:gd name="T7" fmla="*/ 0 h 70"/>
                    <a:gd name="T8" fmla="*/ 2147483647 w 70"/>
                    <a:gd name="T9" fmla="*/ 2147483647 h 70"/>
                    <a:gd name="T10" fmla="*/ 0 w 70"/>
                    <a:gd name="T11" fmla="*/ 2147483647 h 7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0"/>
                    <a:gd name="T19" fmla="*/ 0 h 70"/>
                    <a:gd name="T20" fmla="*/ 70 w 70"/>
                    <a:gd name="T21" fmla="*/ 70 h 7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0" h="70">
                      <a:moveTo>
                        <a:pt x="0" y="43"/>
                      </a:moveTo>
                      <a:lnTo>
                        <a:pt x="26" y="70"/>
                      </a:lnTo>
                      <a:lnTo>
                        <a:pt x="61" y="70"/>
                      </a:lnTo>
                      <a:lnTo>
                        <a:pt x="70" y="0"/>
                      </a:lnTo>
                      <a:lnTo>
                        <a:pt x="18" y="26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6" name="Freeform 104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7" name="Freeform 105"/>
                <p:cNvSpPr>
                  <a:spLocks/>
                </p:cNvSpPr>
                <p:nvPr/>
              </p:nvSpPr>
              <p:spPr bwMode="auto">
                <a:xfrm>
                  <a:off x="2051051" y="3594101"/>
                  <a:ext cx="96838" cy="82550"/>
                </a:xfrm>
                <a:custGeom>
                  <a:avLst/>
                  <a:gdLst>
                    <a:gd name="T0" fmla="*/ 2147483647 w 61"/>
                    <a:gd name="T1" fmla="*/ 0 h 52"/>
                    <a:gd name="T2" fmla="*/ 2147483647 w 61"/>
                    <a:gd name="T3" fmla="*/ 0 h 52"/>
                    <a:gd name="T4" fmla="*/ 0 w 61"/>
                    <a:gd name="T5" fmla="*/ 2147483647 h 52"/>
                    <a:gd name="T6" fmla="*/ 2147483647 w 61"/>
                    <a:gd name="T7" fmla="*/ 2147483647 h 52"/>
                    <a:gd name="T8" fmla="*/ 2147483647 w 61"/>
                    <a:gd name="T9" fmla="*/ 2147483647 h 52"/>
                    <a:gd name="T10" fmla="*/ 2147483647 w 61"/>
                    <a:gd name="T11" fmla="*/ 2147483647 h 52"/>
                    <a:gd name="T12" fmla="*/ 2147483647 w 61"/>
                    <a:gd name="T13" fmla="*/ 2147483647 h 52"/>
                    <a:gd name="T14" fmla="*/ 2147483647 w 61"/>
                    <a:gd name="T15" fmla="*/ 2147483647 h 52"/>
                    <a:gd name="T16" fmla="*/ 2147483647 w 61"/>
                    <a:gd name="T17" fmla="*/ 2147483647 h 52"/>
                    <a:gd name="T18" fmla="*/ 2147483647 w 61"/>
                    <a:gd name="T19" fmla="*/ 0 h 5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52"/>
                    <a:gd name="T32" fmla="*/ 61 w 61"/>
                    <a:gd name="T33" fmla="*/ 52 h 5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52">
                      <a:moveTo>
                        <a:pt x="43" y="0"/>
                      </a:moveTo>
                      <a:lnTo>
                        <a:pt x="8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26" y="34"/>
                      </a:lnTo>
                      <a:lnTo>
                        <a:pt x="43" y="52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43" y="2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8" name="Freeform 106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89" name="Freeform 107"/>
                <p:cNvSpPr>
                  <a:spLocks/>
                </p:cNvSpPr>
                <p:nvPr/>
              </p:nvSpPr>
              <p:spPr bwMode="auto">
                <a:xfrm>
                  <a:off x="2147889" y="3635376"/>
                  <a:ext cx="138113" cy="82550"/>
                </a:xfrm>
                <a:custGeom>
                  <a:avLst/>
                  <a:gdLst>
                    <a:gd name="T0" fmla="*/ 2147483647 w 87"/>
                    <a:gd name="T1" fmla="*/ 0 h 52"/>
                    <a:gd name="T2" fmla="*/ 2147483647 w 87"/>
                    <a:gd name="T3" fmla="*/ 2147483647 h 52"/>
                    <a:gd name="T4" fmla="*/ 0 w 87"/>
                    <a:gd name="T5" fmla="*/ 2147483647 h 52"/>
                    <a:gd name="T6" fmla="*/ 0 w 87"/>
                    <a:gd name="T7" fmla="*/ 2147483647 h 52"/>
                    <a:gd name="T8" fmla="*/ 2147483647 w 87"/>
                    <a:gd name="T9" fmla="*/ 2147483647 h 52"/>
                    <a:gd name="T10" fmla="*/ 2147483647 w 87"/>
                    <a:gd name="T11" fmla="*/ 2147483647 h 52"/>
                    <a:gd name="T12" fmla="*/ 2147483647 w 87"/>
                    <a:gd name="T13" fmla="*/ 2147483647 h 52"/>
                    <a:gd name="T14" fmla="*/ 2147483647 w 87"/>
                    <a:gd name="T15" fmla="*/ 2147483647 h 52"/>
                    <a:gd name="T16" fmla="*/ 2147483647 w 87"/>
                    <a:gd name="T17" fmla="*/ 2147483647 h 52"/>
                    <a:gd name="T18" fmla="*/ 2147483647 w 87"/>
                    <a:gd name="T19" fmla="*/ 2147483647 h 52"/>
                    <a:gd name="T20" fmla="*/ 2147483647 w 87"/>
                    <a:gd name="T21" fmla="*/ 2147483647 h 52"/>
                    <a:gd name="T22" fmla="*/ 2147483647 w 87"/>
                    <a:gd name="T23" fmla="*/ 2147483647 h 52"/>
                    <a:gd name="T24" fmla="*/ 2147483647 w 87"/>
                    <a:gd name="T25" fmla="*/ 0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52"/>
                    <a:gd name="T41" fmla="*/ 87 w 87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52">
                      <a:moveTo>
                        <a:pt x="43" y="0"/>
                      </a:moveTo>
                      <a:lnTo>
                        <a:pt x="17" y="17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35" y="43"/>
                      </a:lnTo>
                      <a:lnTo>
                        <a:pt x="35" y="26"/>
                      </a:lnTo>
                      <a:lnTo>
                        <a:pt x="52" y="17"/>
                      </a:lnTo>
                      <a:lnTo>
                        <a:pt x="69" y="35"/>
                      </a:lnTo>
                      <a:lnTo>
                        <a:pt x="61" y="52"/>
                      </a:lnTo>
                      <a:lnTo>
                        <a:pt x="78" y="52"/>
                      </a:lnTo>
                      <a:lnTo>
                        <a:pt x="87" y="26"/>
                      </a:lnTo>
                      <a:lnTo>
                        <a:pt x="61" y="8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0" name="Freeform 110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1" name="Freeform 111"/>
                <p:cNvSpPr>
                  <a:spLocks/>
                </p:cNvSpPr>
                <p:nvPr/>
              </p:nvSpPr>
              <p:spPr bwMode="auto">
                <a:xfrm>
                  <a:off x="2271714" y="3371851"/>
                  <a:ext cx="69850" cy="28575"/>
                </a:xfrm>
                <a:custGeom>
                  <a:avLst/>
                  <a:gdLst>
                    <a:gd name="T0" fmla="*/ 2147483647 w 44"/>
                    <a:gd name="T1" fmla="*/ 0 h 18"/>
                    <a:gd name="T2" fmla="*/ 0 w 44"/>
                    <a:gd name="T3" fmla="*/ 2147483647 h 18"/>
                    <a:gd name="T4" fmla="*/ 2147483647 w 44"/>
                    <a:gd name="T5" fmla="*/ 2147483647 h 18"/>
                    <a:gd name="T6" fmla="*/ 2147483647 w 44"/>
                    <a:gd name="T7" fmla="*/ 2147483647 h 18"/>
                    <a:gd name="T8" fmla="*/ 2147483647 w 44"/>
                    <a:gd name="T9" fmla="*/ 2147483647 h 18"/>
                    <a:gd name="T10" fmla="*/ 2147483647 w 44"/>
                    <a:gd name="T11" fmla="*/ 2147483647 h 18"/>
                    <a:gd name="T12" fmla="*/ 2147483647 w 4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8"/>
                    <a:gd name="T23" fmla="*/ 44 w 4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8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44" y="18"/>
                      </a:lnTo>
                      <a:lnTo>
                        <a:pt x="44" y="9"/>
                      </a:lnTo>
                      <a:lnTo>
                        <a:pt x="26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2" name="Freeform 112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3" name="Freeform 113"/>
                <p:cNvSpPr>
                  <a:spLocks/>
                </p:cNvSpPr>
                <p:nvPr/>
              </p:nvSpPr>
              <p:spPr bwMode="auto">
                <a:xfrm>
                  <a:off x="2119314" y="3248026"/>
                  <a:ext cx="263525" cy="96838"/>
                </a:xfrm>
                <a:custGeom>
                  <a:avLst/>
                  <a:gdLst>
                    <a:gd name="T0" fmla="*/ 2147483647 w 166"/>
                    <a:gd name="T1" fmla="*/ 2147483647 h 61"/>
                    <a:gd name="T2" fmla="*/ 2147483647 w 166"/>
                    <a:gd name="T3" fmla="*/ 2147483647 h 61"/>
                    <a:gd name="T4" fmla="*/ 2147483647 w 166"/>
                    <a:gd name="T5" fmla="*/ 2147483647 h 61"/>
                    <a:gd name="T6" fmla="*/ 2147483647 w 166"/>
                    <a:gd name="T7" fmla="*/ 2147483647 h 61"/>
                    <a:gd name="T8" fmla="*/ 2147483647 w 166"/>
                    <a:gd name="T9" fmla="*/ 2147483647 h 61"/>
                    <a:gd name="T10" fmla="*/ 2147483647 w 166"/>
                    <a:gd name="T11" fmla="*/ 0 h 61"/>
                    <a:gd name="T12" fmla="*/ 2147483647 w 166"/>
                    <a:gd name="T13" fmla="*/ 2147483647 h 61"/>
                    <a:gd name="T14" fmla="*/ 0 w 166"/>
                    <a:gd name="T15" fmla="*/ 2147483647 h 61"/>
                    <a:gd name="T16" fmla="*/ 2147483647 w 166"/>
                    <a:gd name="T17" fmla="*/ 2147483647 h 61"/>
                    <a:gd name="T18" fmla="*/ 2147483647 w 166"/>
                    <a:gd name="T19" fmla="*/ 2147483647 h 61"/>
                    <a:gd name="T20" fmla="*/ 2147483647 w 166"/>
                    <a:gd name="T21" fmla="*/ 2147483647 h 61"/>
                    <a:gd name="T22" fmla="*/ 2147483647 w 166"/>
                    <a:gd name="T23" fmla="*/ 2147483647 h 61"/>
                    <a:gd name="T24" fmla="*/ 2147483647 w 166"/>
                    <a:gd name="T25" fmla="*/ 2147483647 h 61"/>
                    <a:gd name="T26" fmla="*/ 2147483647 w 166"/>
                    <a:gd name="T27" fmla="*/ 2147483647 h 61"/>
                    <a:gd name="T28" fmla="*/ 2147483647 w 166"/>
                    <a:gd name="T29" fmla="*/ 2147483647 h 61"/>
                    <a:gd name="T30" fmla="*/ 2147483647 w 166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66"/>
                    <a:gd name="T49" fmla="*/ 0 h 61"/>
                    <a:gd name="T50" fmla="*/ 166 w 166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66" h="61">
                      <a:moveTo>
                        <a:pt x="157" y="61"/>
                      </a:moveTo>
                      <a:lnTo>
                        <a:pt x="166" y="52"/>
                      </a:lnTo>
                      <a:lnTo>
                        <a:pt x="105" y="17"/>
                      </a:lnTo>
                      <a:lnTo>
                        <a:pt x="87" y="17"/>
                      </a:lnTo>
                      <a:lnTo>
                        <a:pt x="79" y="8"/>
                      </a:lnTo>
                      <a:lnTo>
                        <a:pt x="35" y="0"/>
                      </a:lnTo>
                      <a:lnTo>
                        <a:pt x="18" y="8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35" y="17"/>
                      </a:lnTo>
                      <a:lnTo>
                        <a:pt x="53" y="17"/>
                      </a:lnTo>
                      <a:lnTo>
                        <a:pt x="53" y="26"/>
                      </a:lnTo>
                      <a:lnTo>
                        <a:pt x="79" y="26"/>
                      </a:lnTo>
                      <a:lnTo>
                        <a:pt x="122" y="52"/>
                      </a:lnTo>
                      <a:lnTo>
                        <a:pt x="122" y="61"/>
                      </a:lnTo>
                      <a:lnTo>
                        <a:pt x="157" y="61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4" name="Freeform 114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5" name="Freeform 115"/>
                <p:cNvSpPr>
                  <a:spLocks/>
                </p:cNvSpPr>
                <p:nvPr/>
              </p:nvSpPr>
              <p:spPr bwMode="auto">
                <a:xfrm>
                  <a:off x="2160589" y="3289301"/>
                  <a:ext cx="14288" cy="26988"/>
                </a:xfrm>
                <a:custGeom>
                  <a:avLst/>
                  <a:gdLst>
                    <a:gd name="T0" fmla="*/ 0 w 9"/>
                    <a:gd name="T1" fmla="*/ 0 h 17"/>
                    <a:gd name="T2" fmla="*/ 0 w 9"/>
                    <a:gd name="T3" fmla="*/ 2147483647 h 17"/>
                    <a:gd name="T4" fmla="*/ 2147483647 w 9"/>
                    <a:gd name="T5" fmla="*/ 2147483647 h 17"/>
                    <a:gd name="T6" fmla="*/ 2147483647 w 9"/>
                    <a:gd name="T7" fmla="*/ 0 h 17"/>
                    <a:gd name="T8" fmla="*/ 0 w 9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7"/>
                    <a:gd name="T17" fmla="*/ 9 w 9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9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6" name="Freeform 116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7" name="Freeform 117"/>
                <p:cNvSpPr>
                  <a:spLocks/>
                </p:cNvSpPr>
                <p:nvPr/>
              </p:nvSpPr>
              <p:spPr bwMode="auto">
                <a:xfrm>
                  <a:off x="2382839" y="3344863"/>
                  <a:ext cx="82550" cy="55563"/>
                </a:xfrm>
                <a:custGeom>
                  <a:avLst/>
                  <a:gdLst>
                    <a:gd name="T0" fmla="*/ 2147483647 w 52"/>
                    <a:gd name="T1" fmla="*/ 0 h 35"/>
                    <a:gd name="T2" fmla="*/ 2147483647 w 52"/>
                    <a:gd name="T3" fmla="*/ 2147483647 h 35"/>
                    <a:gd name="T4" fmla="*/ 2147483647 w 52"/>
                    <a:gd name="T5" fmla="*/ 2147483647 h 35"/>
                    <a:gd name="T6" fmla="*/ 0 w 52"/>
                    <a:gd name="T7" fmla="*/ 2147483647 h 35"/>
                    <a:gd name="T8" fmla="*/ 0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2147483647 w 52"/>
                    <a:gd name="T15" fmla="*/ 0 h 35"/>
                    <a:gd name="T16" fmla="*/ 2147483647 w 52"/>
                    <a:gd name="T17" fmla="*/ 0 h 3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35"/>
                    <a:gd name="T29" fmla="*/ 52 w 52"/>
                    <a:gd name="T30" fmla="*/ 35 h 3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35">
                      <a:moveTo>
                        <a:pt x="9" y="0"/>
                      </a:moveTo>
                      <a:lnTo>
                        <a:pt x="26" y="8"/>
                      </a:lnTo>
                      <a:lnTo>
                        <a:pt x="26" y="17"/>
                      </a:lnTo>
                      <a:lnTo>
                        <a:pt x="0" y="17"/>
                      </a:lnTo>
                      <a:lnTo>
                        <a:pt x="0" y="35"/>
                      </a:lnTo>
                      <a:lnTo>
                        <a:pt x="35" y="35"/>
                      </a:lnTo>
                      <a:lnTo>
                        <a:pt x="52" y="17"/>
                      </a:lnTo>
                      <a:lnTo>
                        <a:pt x="4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8" name="Freeform 154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599" name="Freeform 155"/>
                <p:cNvSpPr>
                  <a:spLocks/>
                </p:cNvSpPr>
                <p:nvPr/>
              </p:nvSpPr>
              <p:spPr bwMode="auto">
                <a:xfrm>
                  <a:off x="3116264" y="1643063"/>
                  <a:ext cx="1038225" cy="552450"/>
                </a:xfrm>
                <a:custGeom>
                  <a:avLst/>
                  <a:gdLst>
                    <a:gd name="T0" fmla="*/ 2147483647 w 654"/>
                    <a:gd name="T1" fmla="*/ 2147483647 h 348"/>
                    <a:gd name="T2" fmla="*/ 2147483647 w 654"/>
                    <a:gd name="T3" fmla="*/ 2147483647 h 348"/>
                    <a:gd name="T4" fmla="*/ 2147483647 w 654"/>
                    <a:gd name="T5" fmla="*/ 2147483647 h 348"/>
                    <a:gd name="T6" fmla="*/ 2147483647 w 654"/>
                    <a:gd name="T7" fmla="*/ 2147483647 h 348"/>
                    <a:gd name="T8" fmla="*/ 2147483647 w 654"/>
                    <a:gd name="T9" fmla="*/ 2147483647 h 348"/>
                    <a:gd name="T10" fmla="*/ 2147483647 w 654"/>
                    <a:gd name="T11" fmla="*/ 0 h 348"/>
                    <a:gd name="T12" fmla="*/ 2147483647 w 654"/>
                    <a:gd name="T13" fmla="*/ 2147483647 h 348"/>
                    <a:gd name="T14" fmla="*/ 2147483647 w 654"/>
                    <a:gd name="T15" fmla="*/ 2147483647 h 348"/>
                    <a:gd name="T16" fmla="*/ 2147483647 w 654"/>
                    <a:gd name="T17" fmla="*/ 2147483647 h 348"/>
                    <a:gd name="T18" fmla="*/ 2147483647 w 654"/>
                    <a:gd name="T19" fmla="*/ 2147483647 h 348"/>
                    <a:gd name="T20" fmla="*/ 2147483647 w 654"/>
                    <a:gd name="T21" fmla="*/ 2147483647 h 348"/>
                    <a:gd name="T22" fmla="*/ 2147483647 w 654"/>
                    <a:gd name="T23" fmla="*/ 2147483647 h 348"/>
                    <a:gd name="T24" fmla="*/ 2147483647 w 654"/>
                    <a:gd name="T25" fmla="*/ 2147483647 h 348"/>
                    <a:gd name="T26" fmla="*/ 2147483647 w 654"/>
                    <a:gd name="T27" fmla="*/ 2147483647 h 348"/>
                    <a:gd name="T28" fmla="*/ 2147483647 w 654"/>
                    <a:gd name="T29" fmla="*/ 2147483647 h 348"/>
                    <a:gd name="T30" fmla="*/ 0 w 654"/>
                    <a:gd name="T31" fmla="*/ 2147483647 h 348"/>
                    <a:gd name="T32" fmla="*/ 0 w 654"/>
                    <a:gd name="T33" fmla="*/ 2147483647 h 348"/>
                    <a:gd name="T34" fmla="*/ 2147483647 w 654"/>
                    <a:gd name="T35" fmla="*/ 2147483647 h 348"/>
                    <a:gd name="T36" fmla="*/ 2147483647 w 654"/>
                    <a:gd name="T37" fmla="*/ 2147483647 h 348"/>
                    <a:gd name="T38" fmla="*/ 2147483647 w 654"/>
                    <a:gd name="T39" fmla="*/ 2147483647 h 348"/>
                    <a:gd name="T40" fmla="*/ 2147483647 w 654"/>
                    <a:gd name="T41" fmla="*/ 2147483647 h 348"/>
                    <a:gd name="T42" fmla="*/ 2147483647 w 654"/>
                    <a:gd name="T43" fmla="*/ 2147483647 h 348"/>
                    <a:gd name="T44" fmla="*/ 2147483647 w 654"/>
                    <a:gd name="T45" fmla="*/ 2147483647 h 348"/>
                    <a:gd name="T46" fmla="*/ 2147483647 w 654"/>
                    <a:gd name="T47" fmla="*/ 2147483647 h 348"/>
                    <a:gd name="T48" fmla="*/ 2147483647 w 654"/>
                    <a:gd name="T49" fmla="*/ 2147483647 h 348"/>
                    <a:gd name="T50" fmla="*/ 2147483647 w 654"/>
                    <a:gd name="T51" fmla="*/ 2147483647 h 348"/>
                    <a:gd name="T52" fmla="*/ 2147483647 w 654"/>
                    <a:gd name="T53" fmla="*/ 2147483647 h 348"/>
                    <a:gd name="T54" fmla="*/ 2147483647 w 654"/>
                    <a:gd name="T55" fmla="*/ 2147483647 h 348"/>
                    <a:gd name="T56" fmla="*/ 2147483647 w 654"/>
                    <a:gd name="T57" fmla="*/ 2147483647 h 348"/>
                    <a:gd name="T58" fmla="*/ 2147483647 w 654"/>
                    <a:gd name="T59" fmla="*/ 2147483647 h 348"/>
                    <a:gd name="T60" fmla="*/ 2147483647 w 654"/>
                    <a:gd name="T61" fmla="*/ 2147483647 h 348"/>
                    <a:gd name="T62" fmla="*/ 2147483647 w 654"/>
                    <a:gd name="T63" fmla="*/ 2147483647 h 348"/>
                    <a:gd name="T64" fmla="*/ 2147483647 w 654"/>
                    <a:gd name="T65" fmla="*/ 2147483647 h 348"/>
                    <a:gd name="T66" fmla="*/ 2147483647 w 654"/>
                    <a:gd name="T67" fmla="*/ 2147483647 h 348"/>
                    <a:gd name="T68" fmla="*/ 2147483647 w 654"/>
                    <a:gd name="T69" fmla="*/ 2147483647 h 348"/>
                    <a:gd name="T70" fmla="*/ 2147483647 w 654"/>
                    <a:gd name="T71" fmla="*/ 2147483647 h 348"/>
                    <a:gd name="T72" fmla="*/ 2147483647 w 654"/>
                    <a:gd name="T73" fmla="*/ 2147483647 h 348"/>
                    <a:gd name="T74" fmla="*/ 2147483647 w 654"/>
                    <a:gd name="T75" fmla="*/ 2147483647 h 348"/>
                    <a:gd name="T76" fmla="*/ 2147483647 w 654"/>
                    <a:gd name="T77" fmla="*/ 2147483647 h 348"/>
                    <a:gd name="T78" fmla="*/ 2147483647 w 654"/>
                    <a:gd name="T79" fmla="*/ 2147483647 h 348"/>
                    <a:gd name="T80" fmla="*/ 2147483647 w 654"/>
                    <a:gd name="T81" fmla="*/ 2147483647 h 348"/>
                    <a:gd name="T82" fmla="*/ 2147483647 w 654"/>
                    <a:gd name="T83" fmla="*/ 2147483647 h 348"/>
                    <a:gd name="T84" fmla="*/ 2147483647 w 654"/>
                    <a:gd name="T85" fmla="*/ 2147483647 h 348"/>
                    <a:gd name="T86" fmla="*/ 2147483647 w 654"/>
                    <a:gd name="T87" fmla="*/ 2147483647 h 348"/>
                    <a:gd name="T88" fmla="*/ 2147483647 w 654"/>
                    <a:gd name="T89" fmla="*/ 2147483647 h 348"/>
                    <a:gd name="T90" fmla="*/ 2147483647 w 654"/>
                    <a:gd name="T91" fmla="*/ 2147483647 h 348"/>
                    <a:gd name="T92" fmla="*/ 2147483647 w 654"/>
                    <a:gd name="T93" fmla="*/ 2147483647 h 348"/>
                    <a:gd name="T94" fmla="*/ 2147483647 w 654"/>
                    <a:gd name="T95" fmla="*/ 2147483647 h 348"/>
                    <a:gd name="T96" fmla="*/ 2147483647 w 654"/>
                    <a:gd name="T97" fmla="*/ 2147483647 h 348"/>
                    <a:gd name="T98" fmla="*/ 2147483647 w 654"/>
                    <a:gd name="T99" fmla="*/ 2147483647 h 348"/>
                    <a:gd name="T100" fmla="*/ 2147483647 w 654"/>
                    <a:gd name="T101" fmla="*/ 2147483647 h 348"/>
                    <a:gd name="T102" fmla="*/ 2147483647 w 654"/>
                    <a:gd name="T103" fmla="*/ 2147483647 h 348"/>
                    <a:gd name="T104" fmla="*/ 2147483647 w 654"/>
                    <a:gd name="T105" fmla="*/ 2147483647 h 348"/>
                    <a:gd name="T106" fmla="*/ 2147483647 w 654"/>
                    <a:gd name="T107" fmla="*/ 2147483647 h 3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54"/>
                    <a:gd name="T163" fmla="*/ 0 h 348"/>
                    <a:gd name="T164" fmla="*/ 654 w 654"/>
                    <a:gd name="T165" fmla="*/ 348 h 3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54" h="348">
                      <a:moveTo>
                        <a:pt x="654" y="26"/>
                      </a:moveTo>
                      <a:lnTo>
                        <a:pt x="628" y="17"/>
                      </a:lnTo>
                      <a:lnTo>
                        <a:pt x="541" y="35"/>
                      </a:lnTo>
                      <a:lnTo>
                        <a:pt x="549" y="8"/>
                      </a:lnTo>
                      <a:lnTo>
                        <a:pt x="523" y="17"/>
                      </a:lnTo>
                      <a:lnTo>
                        <a:pt x="515" y="35"/>
                      </a:lnTo>
                      <a:lnTo>
                        <a:pt x="515" y="17"/>
                      </a:lnTo>
                      <a:lnTo>
                        <a:pt x="453" y="26"/>
                      </a:lnTo>
                      <a:lnTo>
                        <a:pt x="497" y="8"/>
                      </a:lnTo>
                      <a:lnTo>
                        <a:pt x="427" y="8"/>
                      </a:lnTo>
                      <a:lnTo>
                        <a:pt x="427" y="0"/>
                      </a:lnTo>
                      <a:lnTo>
                        <a:pt x="392" y="0"/>
                      </a:lnTo>
                      <a:lnTo>
                        <a:pt x="384" y="8"/>
                      </a:lnTo>
                      <a:lnTo>
                        <a:pt x="358" y="8"/>
                      </a:lnTo>
                      <a:lnTo>
                        <a:pt x="358" y="0"/>
                      </a:lnTo>
                      <a:lnTo>
                        <a:pt x="314" y="8"/>
                      </a:lnTo>
                      <a:lnTo>
                        <a:pt x="340" y="17"/>
                      </a:lnTo>
                      <a:lnTo>
                        <a:pt x="314" y="26"/>
                      </a:lnTo>
                      <a:lnTo>
                        <a:pt x="305" y="17"/>
                      </a:lnTo>
                      <a:lnTo>
                        <a:pt x="270" y="17"/>
                      </a:lnTo>
                      <a:lnTo>
                        <a:pt x="262" y="26"/>
                      </a:lnTo>
                      <a:lnTo>
                        <a:pt x="244" y="26"/>
                      </a:lnTo>
                      <a:lnTo>
                        <a:pt x="227" y="26"/>
                      </a:lnTo>
                      <a:lnTo>
                        <a:pt x="227" y="17"/>
                      </a:lnTo>
                      <a:lnTo>
                        <a:pt x="174" y="8"/>
                      </a:lnTo>
                      <a:lnTo>
                        <a:pt x="183" y="26"/>
                      </a:lnTo>
                      <a:lnTo>
                        <a:pt x="140" y="26"/>
                      </a:lnTo>
                      <a:lnTo>
                        <a:pt x="96" y="35"/>
                      </a:lnTo>
                      <a:lnTo>
                        <a:pt x="105" y="52"/>
                      </a:lnTo>
                      <a:lnTo>
                        <a:pt x="79" y="52"/>
                      </a:lnTo>
                      <a:lnTo>
                        <a:pt x="0" y="61"/>
                      </a:lnTo>
                      <a:lnTo>
                        <a:pt x="0" y="69"/>
                      </a:lnTo>
                      <a:lnTo>
                        <a:pt x="61" y="78"/>
                      </a:lnTo>
                      <a:lnTo>
                        <a:pt x="0" y="87"/>
                      </a:lnTo>
                      <a:lnTo>
                        <a:pt x="18" y="104"/>
                      </a:lnTo>
                      <a:lnTo>
                        <a:pt x="52" y="96"/>
                      </a:lnTo>
                      <a:lnTo>
                        <a:pt x="87" y="96"/>
                      </a:lnTo>
                      <a:lnTo>
                        <a:pt x="140" y="113"/>
                      </a:lnTo>
                      <a:lnTo>
                        <a:pt x="140" y="139"/>
                      </a:lnTo>
                      <a:lnTo>
                        <a:pt x="122" y="148"/>
                      </a:lnTo>
                      <a:lnTo>
                        <a:pt x="122" y="174"/>
                      </a:lnTo>
                      <a:lnTo>
                        <a:pt x="140" y="157"/>
                      </a:lnTo>
                      <a:lnTo>
                        <a:pt x="140" y="148"/>
                      </a:lnTo>
                      <a:lnTo>
                        <a:pt x="148" y="165"/>
                      </a:lnTo>
                      <a:lnTo>
                        <a:pt x="166" y="174"/>
                      </a:lnTo>
                      <a:lnTo>
                        <a:pt x="157" y="183"/>
                      </a:lnTo>
                      <a:lnTo>
                        <a:pt x="140" y="174"/>
                      </a:lnTo>
                      <a:lnTo>
                        <a:pt x="140" y="183"/>
                      </a:lnTo>
                      <a:lnTo>
                        <a:pt x="157" y="191"/>
                      </a:lnTo>
                      <a:lnTo>
                        <a:pt x="157" y="200"/>
                      </a:lnTo>
                      <a:lnTo>
                        <a:pt x="131" y="200"/>
                      </a:lnTo>
                      <a:lnTo>
                        <a:pt x="122" y="226"/>
                      </a:lnTo>
                      <a:lnTo>
                        <a:pt x="105" y="235"/>
                      </a:lnTo>
                      <a:lnTo>
                        <a:pt x="105" y="252"/>
                      </a:lnTo>
                      <a:lnTo>
                        <a:pt x="96" y="252"/>
                      </a:lnTo>
                      <a:lnTo>
                        <a:pt x="113" y="270"/>
                      </a:lnTo>
                      <a:lnTo>
                        <a:pt x="96" y="270"/>
                      </a:lnTo>
                      <a:lnTo>
                        <a:pt x="113" y="279"/>
                      </a:lnTo>
                      <a:lnTo>
                        <a:pt x="105" y="287"/>
                      </a:lnTo>
                      <a:lnTo>
                        <a:pt x="122" y="287"/>
                      </a:lnTo>
                      <a:lnTo>
                        <a:pt x="122" y="305"/>
                      </a:lnTo>
                      <a:lnTo>
                        <a:pt x="140" y="322"/>
                      </a:lnTo>
                      <a:lnTo>
                        <a:pt x="148" y="331"/>
                      </a:lnTo>
                      <a:lnTo>
                        <a:pt x="166" y="331"/>
                      </a:lnTo>
                      <a:lnTo>
                        <a:pt x="183" y="348"/>
                      </a:lnTo>
                      <a:lnTo>
                        <a:pt x="192" y="348"/>
                      </a:lnTo>
                      <a:lnTo>
                        <a:pt x="218" y="322"/>
                      </a:lnTo>
                      <a:lnTo>
                        <a:pt x="218" y="305"/>
                      </a:lnTo>
                      <a:lnTo>
                        <a:pt x="244" y="287"/>
                      </a:lnTo>
                      <a:lnTo>
                        <a:pt x="262" y="270"/>
                      </a:lnTo>
                      <a:lnTo>
                        <a:pt x="253" y="252"/>
                      </a:lnTo>
                      <a:lnTo>
                        <a:pt x="297" y="252"/>
                      </a:lnTo>
                      <a:lnTo>
                        <a:pt x="349" y="244"/>
                      </a:lnTo>
                      <a:lnTo>
                        <a:pt x="358" y="218"/>
                      </a:lnTo>
                      <a:lnTo>
                        <a:pt x="401" y="218"/>
                      </a:lnTo>
                      <a:lnTo>
                        <a:pt x="515" y="183"/>
                      </a:lnTo>
                      <a:lnTo>
                        <a:pt x="488" y="183"/>
                      </a:lnTo>
                      <a:lnTo>
                        <a:pt x="445" y="183"/>
                      </a:lnTo>
                      <a:lnTo>
                        <a:pt x="436" y="174"/>
                      </a:lnTo>
                      <a:lnTo>
                        <a:pt x="471" y="174"/>
                      </a:lnTo>
                      <a:lnTo>
                        <a:pt x="445" y="157"/>
                      </a:lnTo>
                      <a:lnTo>
                        <a:pt x="488" y="157"/>
                      </a:lnTo>
                      <a:lnTo>
                        <a:pt x="488" y="174"/>
                      </a:lnTo>
                      <a:lnTo>
                        <a:pt x="506" y="174"/>
                      </a:lnTo>
                      <a:lnTo>
                        <a:pt x="515" y="183"/>
                      </a:lnTo>
                      <a:lnTo>
                        <a:pt x="523" y="174"/>
                      </a:lnTo>
                      <a:lnTo>
                        <a:pt x="515" y="157"/>
                      </a:lnTo>
                      <a:lnTo>
                        <a:pt x="497" y="148"/>
                      </a:lnTo>
                      <a:lnTo>
                        <a:pt x="480" y="139"/>
                      </a:lnTo>
                      <a:lnTo>
                        <a:pt x="506" y="139"/>
                      </a:lnTo>
                      <a:lnTo>
                        <a:pt x="523" y="148"/>
                      </a:lnTo>
                      <a:lnTo>
                        <a:pt x="515" y="130"/>
                      </a:lnTo>
                      <a:lnTo>
                        <a:pt x="532" y="130"/>
                      </a:lnTo>
                      <a:lnTo>
                        <a:pt x="541" y="122"/>
                      </a:lnTo>
                      <a:lnTo>
                        <a:pt x="532" y="122"/>
                      </a:lnTo>
                      <a:lnTo>
                        <a:pt x="549" y="122"/>
                      </a:lnTo>
                      <a:lnTo>
                        <a:pt x="541" y="104"/>
                      </a:lnTo>
                      <a:lnTo>
                        <a:pt x="558" y="104"/>
                      </a:lnTo>
                      <a:lnTo>
                        <a:pt x="541" y="87"/>
                      </a:lnTo>
                      <a:lnTo>
                        <a:pt x="558" y="87"/>
                      </a:lnTo>
                      <a:lnTo>
                        <a:pt x="567" y="104"/>
                      </a:lnTo>
                      <a:lnTo>
                        <a:pt x="567" y="113"/>
                      </a:lnTo>
                      <a:lnTo>
                        <a:pt x="584" y="113"/>
                      </a:lnTo>
                      <a:lnTo>
                        <a:pt x="576" y="96"/>
                      </a:lnTo>
                      <a:lnTo>
                        <a:pt x="584" y="69"/>
                      </a:lnTo>
                      <a:lnTo>
                        <a:pt x="541" y="69"/>
                      </a:lnTo>
                      <a:lnTo>
                        <a:pt x="567" y="52"/>
                      </a:lnTo>
                      <a:lnTo>
                        <a:pt x="576" y="43"/>
                      </a:lnTo>
                      <a:lnTo>
                        <a:pt x="654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0" name="Freeform 156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1" name="Freeform 157"/>
                <p:cNvSpPr>
                  <a:spLocks/>
                </p:cNvSpPr>
                <p:nvPr/>
              </p:nvSpPr>
              <p:spPr bwMode="auto">
                <a:xfrm>
                  <a:off x="3282951" y="1933576"/>
                  <a:ext cx="55563" cy="26988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7"/>
                    <a:gd name="T17" fmla="*/ 35 w 35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7">
                      <a:moveTo>
                        <a:pt x="0" y="0"/>
                      </a:moveTo>
                      <a:lnTo>
                        <a:pt x="8" y="17"/>
                      </a:lnTo>
                      <a:lnTo>
                        <a:pt x="35" y="8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2" name="Freeform 158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603" name="Freeform 159"/>
                <p:cNvSpPr>
                  <a:spLocks/>
                </p:cNvSpPr>
                <p:nvPr/>
              </p:nvSpPr>
              <p:spPr bwMode="auto">
                <a:xfrm>
                  <a:off x="3863976" y="2016126"/>
                  <a:ext cx="207963" cy="96838"/>
                </a:xfrm>
                <a:custGeom>
                  <a:avLst/>
                  <a:gdLst>
                    <a:gd name="T0" fmla="*/ 2147483647 w 131"/>
                    <a:gd name="T1" fmla="*/ 2147483647 h 61"/>
                    <a:gd name="T2" fmla="*/ 2147483647 w 131"/>
                    <a:gd name="T3" fmla="*/ 2147483647 h 61"/>
                    <a:gd name="T4" fmla="*/ 2147483647 w 131"/>
                    <a:gd name="T5" fmla="*/ 0 h 61"/>
                    <a:gd name="T6" fmla="*/ 2147483647 w 131"/>
                    <a:gd name="T7" fmla="*/ 2147483647 h 61"/>
                    <a:gd name="T8" fmla="*/ 2147483647 w 131"/>
                    <a:gd name="T9" fmla="*/ 2147483647 h 61"/>
                    <a:gd name="T10" fmla="*/ 2147483647 w 131"/>
                    <a:gd name="T11" fmla="*/ 2147483647 h 61"/>
                    <a:gd name="T12" fmla="*/ 2147483647 w 131"/>
                    <a:gd name="T13" fmla="*/ 2147483647 h 61"/>
                    <a:gd name="T14" fmla="*/ 0 w 131"/>
                    <a:gd name="T15" fmla="*/ 2147483647 h 61"/>
                    <a:gd name="T16" fmla="*/ 2147483647 w 131"/>
                    <a:gd name="T17" fmla="*/ 2147483647 h 61"/>
                    <a:gd name="T18" fmla="*/ 0 w 131"/>
                    <a:gd name="T19" fmla="*/ 2147483647 h 61"/>
                    <a:gd name="T20" fmla="*/ 2147483647 w 131"/>
                    <a:gd name="T21" fmla="*/ 2147483647 h 61"/>
                    <a:gd name="T22" fmla="*/ 2147483647 w 131"/>
                    <a:gd name="T23" fmla="*/ 2147483647 h 61"/>
                    <a:gd name="T24" fmla="*/ 2147483647 w 131"/>
                    <a:gd name="T25" fmla="*/ 2147483647 h 61"/>
                    <a:gd name="T26" fmla="*/ 2147483647 w 131"/>
                    <a:gd name="T27" fmla="*/ 2147483647 h 61"/>
                    <a:gd name="T28" fmla="*/ 2147483647 w 131"/>
                    <a:gd name="T29" fmla="*/ 2147483647 h 61"/>
                    <a:gd name="T30" fmla="*/ 2147483647 w 131"/>
                    <a:gd name="T31" fmla="*/ 2147483647 h 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1"/>
                    <a:gd name="T49" fmla="*/ 0 h 61"/>
                    <a:gd name="T50" fmla="*/ 131 w 131"/>
                    <a:gd name="T51" fmla="*/ 61 h 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1" h="61">
                      <a:moveTo>
                        <a:pt x="131" y="26"/>
                      </a:moveTo>
                      <a:lnTo>
                        <a:pt x="122" y="17"/>
                      </a:lnTo>
                      <a:lnTo>
                        <a:pt x="105" y="0"/>
                      </a:lnTo>
                      <a:lnTo>
                        <a:pt x="78" y="9"/>
                      </a:lnTo>
                      <a:lnTo>
                        <a:pt x="61" y="9"/>
                      </a:lnTo>
                      <a:lnTo>
                        <a:pt x="44" y="17"/>
                      </a:lnTo>
                      <a:lnTo>
                        <a:pt x="17" y="9"/>
                      </a:ln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26" y="52"/>
                      </a:lnTo>
                      <a:lnTo>
                        <a:pt x="52" y="61"/>
                      </a:lnTo>
                      <a:lnTo>
                        <a:pt x="96" y="44"/>
                      </a:lnTo>
                      <a:lnTo>
                        <a:pt x="122" y="44"/>
                      </a:lnTo>
                      <a:lnTo>
                        <a:pt x="131" y="26"/>
                      </a:lnTo>
                      <a:close/>
                    </a:path>
                  </a:pathLst>
                </a:custGeom>
                <a:grpFill/>
                <a:ln w="14288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4" name="Freeform 308"/>
              <p:cNvSpPr>
                <a:spLocks/>
              </p:cNvSpPr>
              <p:nvPr/>
            </p:nvSpPr>
            <p:spPr bwMode="auto">
              <a:xfrm>
                <a:off x="4212048" y="1642775"/>
                <a:ext cx="130697" cy="177764"/>
              </a:xfrm>
              <a:custGeom>
                <a:avLst/>
                <a:gdLst>
                  <a:gd name="T0" fmla="*/ 2147483647 w 122"/>
                  <a:gd name="T1" fmla="*/ 0 h 166"/>
                  <a:gd name="T2" fmla="*/ 2147483647 w 122"/>
                  <a:gd name="T3" fmla="*/ 2147483647 h 166"/>
                  <a:gd name="T4" fmla="*/ 0 w 122"/>
                  <a:gd name="T5" fmla="*/ 2147483647 h 166"/>
                  <a:gd name="T6" fmla="*/ 2147483647 w 122"/>
                  <a:gd name="T7" fmla="*/ 2147483647 h 166"/>
                  <a:gd name="T8" fmla="*/ 2147483647 w 122"/>
                  <a:gd name="T9" fmla="*/ 2147483647 h 166"/>
                  <a:gd name="T10" fmla="*/ 2147483647 w 122"/>
                  <a:gd name="T11" fmla="*/ 2147483647 h 166"/>
                  <a:gd name="T12" fmla="*/ 2147483647 w 122"/>
                  <a:gd name="T13" fmla="*/ 2147483647 h 166"/>
                  <a:gd name="T14" fmla="*/ 2147483647 w 122"/>
                  <a:gd name="T15" fmla="*/ 2147483647 h 166"/>
                  <a:gd name="T16" fmla="*/ 2147483647 w 122"/>
                  <a:gd name="T17" fmla="*/ 2147483647 h 166"/>
                  <a:gd name="T18" fmla="*/ 2147483647 w 122"/>
                  <a:gd name="T19" fmla="*/ 2147483647 h 166"/>
                  <a:gd name="T20" fmla="*/ 2147483647 w 122"/>
                  <a:gd name="T21" fmla="*/ 2147483647 h 166"/>
                  <a:gd name="T22" fmla="*/ 2147483647 w 122"/>
                  <a:gd name="T23" fmla="*/ 2147483647 h 166"/>
                  <a:gd name="T24" fmla="*/ 2147483647 w 122"/>
                  <a:gd name="T25" fmla="*/ 2147483647 h 166"/>
                  <a:gd name="T26" fmla="*/ 2147483647 w 122"/>
                  <a:gd name="T27" fmla="*/ 2147483647 h 166"/>
                  <a:gd name="T28" fmla="*/ 2147483647 w 122"/>
                  <a:gd name="T29" fmla="*/ 2147483647 h 166"/>
                  <a:gd name="T30" fmla="*/ 2147483647 w 122"/>
                  <a:gd name="T31" fmla="*/ 2147483647 h 166"/>
                  <a:gd name="T32" fmla="*/ 2147483647 w 122"/>
                  <a:gd name="T33" fmla="*/ 2147483647 h 166"/>
                  <a:gd name="T34" fmla="*/ 2147483647 w 122"/>
                  <a:gd name="T35" fmla="*/ 2147483647 h 166"/>
                  <a:gd name="T36" fmla="*/ 2147483647 w 122"/>
                  <a:gd name="T37" fmla="*/ 2147483647 h 166"/>
                  <a:gd name="T38" fmla="*/ 2147483647 w 122"/>
                  <a:gd name="T39" fmla="*/ 2147483647 h 166"/>
                  <a:gd name="T40" fmla="*/ 2147483647 w 122"/>
                  <a:gd name="T41" fmla="*/ 2147483647 h 166"/>
                  <a:gd name="T42" fmla="*/ 2147483647 w 122"/>
                  <a:gd name="T43" fmla="*/ 2147483647 h 166"/>
                  <a:gd name="T44" fmla="*/ 2147483647 w 122"/>
                  <a:gd name="T45" fmla="*/ 2147483647 h 166"/>
                  <a:gd name="T46" fmla="*/ 2147483647 w 122"/>
                  <a:gd name="T47" fmla="*/ 2147483647 h 166"/>
                  <a:gd name="T48" fmla="*/ 2147483647 w 122"/>
                  <a:gd name="T49" fmla="*/ 2147483647 h 166"/>
                  <a:gd name="T50" fmla="*/ 2147483647 w 122"/>
                  <a:gd name="T51" fmla="*/ 2147483647 h 166"/>
                  <a:gd name="T52" fmla="*/ 2147483647 w 122"/>
                  <a:gd name="T53" fmla="*/ 2147483647 h 166"/>
                  <a:gd name="T54" fmla="*/ 2147483647 w 122"/>
                  <a:gd name="T55" fmla="*/ 2147483647 h 166"/>
                  <a:gd name="T56" fmla="*/ 2147483647 w 122"/>
                  <a:gd name="T57" fmla="*/ 2147483647 h 166"/>
                  <a:gd name="T58" fmla="*/ 2147483647 w 122"/>
                  <a:gd name="T59" fmla="*/ 2147483647 h 166"/>
                  <a:gd name="T60" fmla="*/ 2147483647 w 122"/>
                  <a:gd name="T61" fmla="*/ 2147483647 h 166"/>
                  <a:gd name="T62" fmla="*/ 2147483647 w 122"/>
                  <a:gd name="T63" fmla="*/ 2147483647 h 166"/>
                  <a:gd name="T64" fmla="*/ 2147483647 w 122"/>
                  <a:gd name="T65" fmla="*/ 2147483647 h 166"/>
                  <a:gd name="T66" fmla="*/ 2147483647 w 122"/>
                  <a:gd name="T67" fmla="*/ 0 h 1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2"/>
                  <a:gd name="T103" fmla="*/ 0 h 166"/>
                  <a:gd name="T104" fmla="*/ 122 w 122"/>
                  <a:gd name="T105" fmla="*/ 166 h 16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2" h="166">
                    <a:moveTo>
                      <a:pt x="9" y="0"/>
                    </a:moveTo>
                    <a:lnTo>
                      <a:pt x="9" y="9"/>
                    </a:lnTo>
                    <a:lnTo>
                      <a:pt x="0" y="18"/>
                    </a:lnTo>
                    <a:lnTo>
                      <a:pt x="9" y="26"/>
                    </a:lnTo>
                    <a:lnTo>
                      <a:pt x="9" y="53"/>
                    </a:lnTo>
                    <a:lnTo>
                      <a:pt x="9" y="61"/>
                    </a:lnTo>
                    <a:lnTo>
                      <a:pt x="26" y="61"/>
                    </a:lnTo>
                    <a:lnTo>
                      <a:pt x="26" y="79"/>
                    </a:lnTo>
                    <a:lnTo>
                      <a:pt x="53" y="87"/>
                    </a:lnTo>
                    <a:lnTo>
                      <a:pt x="53" y="96"/>
                    </a:lnTo>
                    <a:lnTo>
                      <a:pt x="26" y="114"/>
                    </a:lnTo>
                    <a:lnTo>
                      <a:pt x="26" y="131"/>
                    </a:lnTo>
                    <a:lnTo>
                      <a:pt x="53" y="140"/>
                    </a:lnTo>
                    <a:lnTo>
                      <a:pt x="18" y="148"/>
                    </a:lnTo>
                    <a:lnTo>
                      <a:pt x="9" y="166"/>
                    </a:lnTo>
                    <a:lnTo>
                      <a:pt x="53" y="148"/>
                    </a:lnTo>
                    <a:lnTo>
                      <a:pt x="96" y="148"/>
                    </a:lnTo>
                    <a:lnTo>
                      <a:pt x="105" y="140"/>
                    </a:lnTo>
                    <a:lnTo>
                      <a:pt x="105" y="131"/>
                    </a:lnTo>
                    <a:lnTo>
                      <a:pt x="122" y="122"/>
                    </a:lnTo>
                    <a:lnTo>
                      <a:pt x="122" y="114"/>
                    </a:lnTo>
                    <a:lnTo>
                      <a:pt x="105" y="114"/>
                    </a:lnTo>
                    <a:lnTo>
                      <a:pt x="96" y="114"/>
                    </a:lnTo>
                    <a:lnTo>
                      <a:pt x="96" y="105"/>
                    </a:lnTo>
                    <a:lnTo>
                      <a:pt x="79" y="79"/>
                    </a:lnTo>
                    <a:lnTo>
                      <a:pt x="79" y="70"/>
                    </a:lnTo>
                    <a:lnTo>
                      <a:pt x="61" y="53"/>
                    </a:lnTo>
                    <a:lnTo>
                      <a:pt x="44" y="44"/>
                    </a:lnTo>
                    <a:lnTo>
                      <a:pt x="61" y="44"/>
                    </a:lnTo>
                    <a:lnTo>
                      <a:pt x="61" y="26"/>
                    </a:lnTo>
                    <a:lnTo>
                      <a:pt x="35" y="26"/>
                    </a:lnTo>
                    <a:lnTo>
                      <a:pt x="26" y="18"/>
                    </a:lnTo>
                    <a:lnTo>
                      <a:pt x="35" y="18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5" name="Freeform 312"/>
              <p:cNvSpPr>
                <a:spLocks/>
              </p:cNvSpPr>
              <p:nvPr/>
            </p:nvSpPr>
            <p:spPr bwMode="auto">
              <a:xfrm>
                <a:off x="4146700" y="1708097"/>
                <a:ext cx="74990" cy="84599"/>
              </a:xfrm>
              <a:custGeom>
                <a:avLst/>
                <a:gdLst>
                  <a:gd name="T0" fmla="*/ 2147483647 w 70"/>
                  <a:gd name="T1" fmla="*/ 2147483647 h 79"/>
                  <a:gd name="T2" fmla="*/ 2147483647 w 70"/>
                  <a:gd name="T3" fmla="*/ 2147483647 h 79"/>
                  <a:gd name="T4" fmla="*/ 0 w 70"/>
                  <a:gd name="T5" fmla="*/ 2147483647 h 79"/>
                  <a:gd name="T6" fmla="*/ 2147483647 w 70"/>
                  <a:gd name="T7" fmla="*/ 2147483647 h 79"/>
                  <a:gd name="T8" fmla="*/ 2147483647 w 70"/>
                  <a:gd name="T9" fmla="*/ 2147483647 h 79"/>
                  <a:gd name="T10" fmla="*/ 2147483647 w 70"/>
                  <a:gd name="T11" fmla="*/ 2147483647 h 79"/>
                  <a:gd name="T12" fmla="*/ 2147483647 w 70"/>
                  <a:gd name="T13" fmla="*/ 2147483647 h 79"/>
                  <a:gd name="T14" fmla="*/ 2147483647 w 70"/>
                  <a:gd name="T15" fmla="*/ 2147483647 h 79"/>
                  <a:gd name="T16" fmla="*/ 2147483647 w 70"/>
                  <a:gd name="T17" fmla="*/ 2147483647 h 79"/>
                  <a:gd name="T18" fmla="*/ 2147483647 w 70"/>
                  <a:gd name="T19" fmla="*/ 0 h 79"/>
                  <a:gd name="T20" fmla="*/ 2147483647 w 70"/>
                  <a:gd name="T21" fmla="*/ 2147483647 h 79"/>
                  <a:gd name="T22" fmla="*/ 2147483647 w 70"/>
                  <a:gd name="T23" fmla="*/ 2147483647 h 79"/>
                  <a:gd name="T24" fmla="*/ 2147483647 w 70"/>
                  <a:gd name="T25" fmla="*/ 2147483647 h 79"/>
                  <a:gd name="T26" fmla="*/ 2147483647 w 70"/>
                  <a:gd name="T27" fmla="*/ 2147483647 h 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70"/>
                  <a:gd name="T43" fmla="*/ 0 h 79"/>
                  <a:gd name="T44" fmla="*/ 70 w 70"/>
                  <a:gd name="T45" fmla="*/ 79 h 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70" h="79">
                    <a:moveTo>
                      <a:pt x="9" y="35"/>
                    </a:moveTo>
                    <a:lnTo>
                      <a:pt x="18" y="44"/>
                    </a:lnTo>
                    <a:lnTo>
                      <a:pt x="0" y="61"/>
                    </a:lnTo>
                    <a:lnTo>
                      <a:pt x="18" y="79"/>
                    </a:lnTo>
                    <a:lnTo>
                      <a:pt x="44" y="79"/>
                    </a:lnTo>
                    <a:lnTo>
                      <a:pt x="70" y="53"/>
                    </a:lnTo>
                    <a:lnTo>
                      <a:pt x="70" y="35"/>
                    </a:lnTo>
                    <a:lnTo>
                      <a:pt x="52" y="26"/>
                    </a:lnTo>
                    <a:lnTo>
                      <a:pt x="61" y="9"/>
                    </a:lnTo>
                    <a:lnTo>
                      <a:pt x="61" y="0"/>
                    </a:lnTo>
                    <a:lnTo>
                      <a:pt x="44" y="9"/>
                    </a:lnTo>
                    <a:lnTo>
                      <a:pt x="35" y="26"/>
                    </a:lnTo>
                    <a:lnTo>
                      <a:pt x="18" y="26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6" name="Freeform 489"/>
              <p:cNvSpPr>
                <a:spLocks/>
              </p:cNvSpPr>
              <p:nvPr/>
            </p:nvSpPr>
            <p:spPr bwMode="auto">
              <a:xfrm>
                <a:off x="4455231" y="2062554"/>
                <a:ext cx="65349" cy="149921"/>
              </a:xfrm>
              <a:custGeom>
                <a:avLst/>
                <a:gdLst>
                  <a:gd name="T0" fmla="*/ 2147483647 w 61"/>
                  <a:gd name="T1" fmla="*/ 2147483647 h 140"/>
                  <a:gd name="T2" fmla="*/ 2147483647 w 61"/>
                  <a:gd name="T3" fmla="*/ 2147483647 h 140"/>
                  <a:gd name="T4" fmla="*/ 2147483647 w 61"/>
                  <a:gd name="T5" fmla="*/ 0 h 140"/>
                  <a:gd name="T6" fmla="*/ 0 w 61"/>
                  <a:gd name="T7" fmla="*/ 2147483647 h 140"/>
                  <a:gd name="T8" fmla="*/ 2147483647 w 61"/>
                  <a:gd name="T9" fmla="*/ 2147483647 h 140"/>
                  <a:gd name="T10" fmla="*/ 2147483647 w 61"/>
                  <a:gd name="T11" fmla="*/ 2147483647 h 140"/>
                  <a:gd name="T12" fmla="*/ 2147483647 w 61"/>
                  <a:gd name="T13" fmla="*/ 2147483647 h 140"/>
                  <a:gd name="T14" fmla="*/ 2147483647 w 61"/>
                  <a:gd name="T15" fmla="*/ 2147483647 h 140"/>
                  <a:gd name="T16" fmla="*/ 2147483647 w 61"/>
                  <a:gd name="T17" fmla="*/ 2147483647 h 140"/>
                  <a:gd name="T18" fmla="*/ 2147483647 w 61"/>
                  <a:gd name="T19" fmla="*/ 2147483647 h 140"/>
                  <a:gd name="T20" fmla="*/ 2147483647 w 61"/>
                  <a:gd name="T21" fmla="*/ 2147483647 h 140"/>
                  <a:gd name="T22" fmla="*/ 2147483647 w 61"/>
                  <a:gd name="T23" fmla="*/ 2147483647 h 140"/>
                  <a:gd name="T24" fmla="*/ 2147483647 w 61"/>
                  <a:gd name="T25" fmla="*/ 2147483647 h 1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1"/>
                  <a:gd name="T40" fmla="*/ 0 h 140"/>
                  <a:gd name="T41" fmla="*/ 61 w 61"/>
                  <a:gd name="T42" fmla="*/ 140 h 14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1" h="140">
                    <a:moveTo>
                      <a:pt x="35" y="27"/>
                    </a:moveTo>
                    <a:lnTo>
                      <a:pt x="35" y="18"/>
                    </a:lnTo>
                    <a:lnTo>
                      <a:pt x="17" y="0"/>
                    </a:lnTo>
                    <a:lnTo>
                      <a:pt x="0" y="70"/>
                    </a:lnTo>
                    <a:lnTo>
                      <a:pt x="26" y="140"/>
                    </a:lnTo>
                    <a:lnTo>
                      <a:pt x="43" y="123"/>
                    </a:lnTo>
                    <a:lnTo>
                      <a:pt x="43" y="105"/>
                    </a:lnTo>
                    <a:lnTo>
                      <a:pt x="52" y="96"/>
                    </a:lnTo>
                    <a:lnTo>
                      <a:pt x="61" y="79"/>
                    </a:lnTo>
                    <a:lnTo>
                      <a:pt x="26" y="61"/>
                    </a:lnTo>
                    <a:lnTo>
                      <a:pt x="35" y="44"/>
                    </a:lnTo>
                    <a:lnTo>
                      <a:pt x="26" y="27"/>
                    </a:lnTo>
                    <a:lnTo>
                      <a:pt x="35" y="27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27" name="Freeform 491"/>
              <p:cNvSpPr>
                <a:spLocks/>
              </p:cNvSpPr>
              <p:nvPr/>
            </p:nvSpPr>
            <p:spPr bwMode="auto">
              <a:xfrm>
                <a:off x="4165983" y="2062554"/>
                <a:ext cx="364237" cy="364094"/>
              </a:xfrm>
              <a:custGeom>
                <a:avLst/>
                <a:gdLst>
                  <a:gd name="T0" fmla="*/ 2147483647 w 340"/>
                  <a:gd name="T1" fmla="*/ 2147483647 h 340"/>
                  <a:gd name="T2" fmla="*/ 2147483647 w 340"/>
                  <a:gd name="T3" fmla="*/ 2147483647 h 340"/>
                  <a:gd name="T4" fmla="*/ 2147483647 w 340"/>
                  <a:gd name="T5" fmla="*/ 2147483647 h 340"/>
                  <a:gd name="T6" fmla="*/ 2147483647 w 340"/>
                  <a:gd name="T7" fmla="*/ 2147483647 h 340"/>
                  <a:gd name="T8" fmla="*/ 2147483647 w 340"/>
                  <a:gd name="T9" fmla="*/ 2147483647 h 340"/>
                  <a:gd name="T10" fmla="*/ 2147483647 w 340"/>
                  <a:gd name="T11" fmla="*/ 0 h 340"/>
                  <a:gd name="T12" fmla="*/ 2147483647 w 340"/>
                  <a:gd name="T13" fmla="*/ 2147483647 h 340"/>
                  <a:gd name="T14" fmla="*/ 2147483647 w 340"/>
                  <a:gd name="T15" fmla="*/ 2147483647 h 340"/>
                  <a:gd name="T16" fmla="*/ 2147483647 w 340"/>
                  <a:gd name="T17" fmla="*/ 2147483647 h 340"/>
                  <a:gd name="T18" fmla="*/ 2147483647 w 340"/>
                  <a:gd name="T19" fmla="*/ 2147483647 h 340"/>
                  <a:gd name="T20" fmla="*/ 2147483647 w 340"/>
                  <a:gd name="T21" fmla="*/ 2147483647 h 340"/>
                  <a:gd name="T22" fmla="*/ 2147483647 w 340"/>
                  <a:gd name="T23" fmla="*/ 2147483647 h 340"/>
                  <a:gd name="T24" fmla="*/ 2147483647 w 340"/>
                  <a:gd name="T25" fmla="*/ 2147483647 h 340"/>
                  <a:gd name="T26" fmla="*/ 2147483647 w 340"/>
                  <a:gd name="T27" fmla="*/ 2147483647 h 340"/>
                  <a:gd name="T28" fmla="*/ 2147483647 w 340"/>
                  <a:gd name="T29" fmla="*/ 2147483647 h 340"/>
                  <a:gd name="T30" fmla="*/ 2147483647 w 340"/>
                  <a:gd name="T31" fmla="*/ 2147483647 h 340"/>
                  <a:gd name="T32" fmla="*/ 0 w 340"/>
                  <a:gd name="T33" fmla="*/ 2147483647 h 340"/>
                  <a:gd name="T34" fmla="*/ 0 w 340"/>
                  <a:gd name="T35" fmla="*/ 2147483647 h 340"/>
                  <a:gd name="T36" fmla="*/ 2147483647 w 340"/>
                  <a:gd name="T37" fmla="*/ 2147483647 h 340"/>
                  <a:gd name="T38" fmla="*/ 2147483647 w 340"/>
                  <a:gd name="T39" fmla="*/ 2147483647 h 340"/>
                  <a:gd name="T40" fmla="*/ 2147483647 w 340"/>
                  <a:gd name="T41" fmla="*/ 2147483647 h 340"/>
                  <a:gd name="T42" fmla="*/ 2147483647 w 340"/>
                  <a:gd name="T43" fmla="*/ 2147483647 h 340"/>
                  <a:gd name="T44" fmla="*/ 2147483647 w 340"/>
                  <a:gd name="T45" fmla="*/ 2147483647 h 340"/>
                  <a:gd name="T46" fmla="*/ 2147483647 w 340"/>
                  <a:gd name="T47" fmla="*/ 2147483647 h 340"/>
                  <a:gd name="T48" fmla="*/ 2147483647 w 340"/>
                  <a:gd name="T49" fmla="*/ 2147483647 h 34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40"/>
                  <a:gd name="T76" fmla="*/ 0 h 340"/>
                  <a:gd name="T77" fmla="*/ 340 w 340"/>
                  <a:gd name="T78" fmla="*/ 340 h 34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40" h="340">
                    <a:moveTo>
                      <a:pt x="340" y="253"/>
                    </a:moveTo>
                    <a:lnTo>
                      <a:pt x="340" y="245"/>
                    </a:lnTo>
                    <a:lnTo>
                      <a:pt x="305" y="236"/>
                    </a:lnTo>
                    <a:lnTo>
                      <a:pt x="296" y="140"/>
                    </a:lnTo>
                    <a:lnTo>
                      <a:pt x="270" y="70"/>
                    </a:lnTo>
                    <a:lnTo>
                      <a:pt x="287" y="0"/>
                    </a:lnTo>
                    <a:lnTo>
                      <a:pt x="174" y="18"/>
                    </a:lnTo>
                    <a:lnTo>
                      <a:pt x="104" y="35"/>
                    </a:lnTo>
                    <a:lnTo>
                      <a:pt x="104" y="53"/>
                    </a:lnTo>
                    <a:lnTo>
                      <a:pt x="122" y="53"/>
                    </a:lnTo>
                    <a:lnTo>
                      <a:pt x="122" y="88"/>
                    </a:lnTo>
                    <a:lnTo>
                      <a:pt x="130" y="88"/>
                    </a:lnTo>
                    <a:lnTo>
                      <a:pt x="130" y="105"/>
                    </a:lnTo>
                    <a:lnTo>
                      <a:pt x="104" y="96"/>
                    </a:lnTo>
                    <a:lnTo>
                      <a:pt x="52" y="149"/>
                    </a:lnTo>
                    <a:lnTo>
                      <a:pt x="26" y="149"/>
                    </a:lnTo>
                    <a:lnTo>
                      <a:pt x="0" y="166"/>
                    </a:lnTo>
                    <a:lnTo>
                      <a:pt x="0" y="184"/>
                    </a:lnTo>
                    <a:lnTo>
                      <a:pt x="69" y="236"/>
                    </a:lnTo>
                    <a:lnTo>
                      <a:pt x="165" y="297"/>
                    </a:lnTo>
                    <a:lnTo>
                      <a:pt x="165" y="314"/>
                    </a:lnTo>
                    <a:lnTo>
                      <a:pt x="218" y="340"/>
                    </a:lnTo>
                    <a:lnTo>
                      <a:pt x="226" y="332"/>
                    </a:lnTo>
                    <a:lnTo>
                      <a:pt x="235" y="340"/>
                    </a:lnTo>
                    <a:lnTo>
                      <a:pt x="340" y="25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28" name="Gruppieren 27"/>
              <p:cNvGrpSpPr/>
              <p:nvPr/>
            </p:nvGrpSpPr>
            <p:grpSpPr>
              <a:xfrm>
                <a:off x="4146700" y="1288318"/>
                <a:ext cx="3194578" cy="2398741"/>
                <a:chOff x="4146700" y="1288318"/>
                <a:chExt cx="3194578" cy="2398741"/>
              </a:xfrm>
              <a:grpFill/>
            </p:grpSpPr>
            <p:sp>
              <p:nvSpPr>
                <p:cNvPr id="148" name="Freeform 307"/>
                <p:cNvSpPr>
                  <a:spLocks/>
                </p:cNvSpPr>
                <p:nvPr/>
              </p:nvSpPr>
              <p:spPr bwMode="auto">
                <a:xfrm>
                  <a:off x="4212048" y="1642775"/>
                  <a:ext cx="130698" cy="177764"/>
                </a:xfrm>
                <a:custGeom>
                  <a:avLst/>
                  <a:gdLst>
                    <a:gd name="T0" fmla="*/ 2147483647 w 122"/>
                    <a:gd name="T1" fmla="*/ 0 h 166"/>
                    <a:gd name="T2" fmla="*/ 2147483647 w 122"/>
                    <a:gd name="T3" fmla="*/ 2147483647 h 166"/>
                    <a:gd name="T4" fmla="*/ 0 w 122"/>
                    <a:gd name="T5" fmla="*/ 2147483647 h 166"/>
                    <a:gd name="T6" fmla="*/ 2147483647 w 122"/>
                    <a:gd name="T7" fmla="*/ 2147483647 h 166"/>
                    <a:gd name="T8" fmla="*/ 2147483647 w 122"/>
                    <a:gd name="T9" fmla="*/ 2147483647 h 166"/>
                    <a:gd name="T10" fmla="*/ 2147483647 w 122"/>
                    <a:gd name="T11" fmla="*/ 2147483647 h 166"/>
                    <a:gd name="T12" fmla="*/ 2147483647 w 122"/>
                    <a:gd name="T13" fmla="*/ 2147483647 h 166"/>
                    <a:gd name="T14" fmla="*/ 2147483647 w 122"/>
                    <a:gd name="T15" fmla="*/ 2147483647 h 166"/>
                    <a:gd name="T16" fmla="*/ 2147483647 w 122"/>
                    <a:gd name="T17" fmla="*/ 2147483647 h 166"/>
                    <a:gd name="T18" fmla="*/ 2147483647 w 122"/>
                    <a:gd name="T19" fmla="*/ 2147483647 h 166"/>
                    <a:gd name="T20" fmla="*/ 2147483647 w 122"/>
                    <a:gd name="T21" fmla="*/ 2147483647 h 166"/>
                    <a:gd name="T22" fmla="*/ 2147483647 w 122"/>
                    <a:gd name="T23" fmla="*/ 2147483647 h 166"/>
                    <a:gd name="T24" fmla="*/ 2147483647 w 122"/>
                    <a:gd name="T25" fmla="*/ 2147483647 h 166"/>
                    <a:gd name="T26" fmla="*/ 2147483647 w 122"/>
                    <a:gd name="T27" fmla="*/ 2147483647 h 166"/>
                    <a:gd name="T28" fmla="*/ 2147483647 w 122"/>
                    <a:gd name="T29" fmla="*/ 2147483647 h 166"/>
                    <a:gd name="T30" fmla="*/ 2147483647 w 122"/>
                    <a:gd name="T31" fmla="*/ 2147483647 h 166"/>
                    <a:gd name="T32" fmla="*/ 2147483647 w 122"/>
                    <a:gd name="T33" fmla="*/ 2147483647 h 166"/>
                    <a:gd name="T34" fmla="*/ 2147483647 w 122"/>
                    <a:gd name="T35" fmla="*/ 2147483647 h 166"/>
                    <a:gd name="T36" fmla="*/ 2147483647 w 122"/>
                    <a:gd name="T37" fmla="*/ 2147483647 h 166"/>
                    <a:gd name="T38" fmla="*/ 2147483647 w 122"/>
                    <a:gd name="T39" fmla="*/ 2147483647 h 166"/>
                    <a:gd name="T40" fmla="*/ 2147483647 w 122"/>
                    <a:gd name="T41" fmla="*/ 2147483647 h 166"/>
                    <a:gd name="T42" fmla="*/ 2147483647 w 122"/>
                    <a:gd name="T43" fmla="*/ 2147483647 h 166"/>
                    <a:gd name="T44" fmla="*/ 2147483647 w 122"/>
                    <a:gd name="T45" fmla="*/ 2147483647 h 166"/>
                    <a:gd name="T46" fmla="*/ 2147483647 w 122"/>
                    <a:gd name="T47" fmla="*/ 2147483647 h 166"/>
                    <a:gd name="T48" fmla="*/ 2147483647 w 122"/>
                    <a:gd name="T49" fmla="*/ 2147483647 h 166"/>
                    <a:gd name="T50" fmla="*/ 2147483647 w 122"/>
                    <a:gd name="T51" fmla="*/ 2147483647 h 166"/>
                    <a:gd name="T52" fmla="*/ 2147483647 w 122"/>
                    <a:gd name="T53" fmla="*/ 2147483647 h 166"/>
                    <a:gd name="T54" fmla="*/ 2147483647 w 122"/>
                    <a:gd name="T55" fmla="*/ 2147483647 h 166"/>
                    <a:gd name="T56" fmla="*/ 2147483647 w 122"/>
                    <a:gd name="T57" fmla="*/ 2147483647 h 166"/>
                    <a:gd name="T58" fmla="*/ 2147483647 w 122"/>
                    <a:gd name="T59" fmla="*/ 2147483647 h 166"/>
                    <a:gd name="T60" fmla="*/ 2147483647 w 122"/>
                    <a:gd name="T61" fmla="*/ 2147483647 h 166"/>
                    <a:gd name="T62" fmla="*/ 2147483647 w 122"/>
                    <a:gd name="T63" fmla="*/ 2147483647 h 166"/>
                    <a:gd name="T64" fmla="*/ 2147483647 w 122"/>
                    <a:gd name="T65" fmla="*/ 2147483647 h 166"/>
                    <a:gd name="T66" fmla="*/ 2147483647 w 122"/>
                    <a:gd name="T67" fmla="*/ 0 h 16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22"/>
                    <a:gd name="T103" fmla="*/ 0 h 166"/>
                    <a:gd name="T104" fmla="*/ 122 w 122"/>
                    <a:gd name="T105" fmla="*/ 166 h 16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22" h="166">
                      <a:moveTo>
                        <a:pt x="9" y="0"/>
                      </a:move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9" y="26"/>
                      </a:lnTo>
                      <a:lnTo>
                        <a:pt x="9" y="53"/>
                      </a:lnTo>
                      <a:lnTo>
                        <a:pt x="9" y="61"/>
                      </a:lnTo>
                      <a:lnTo>
                        <a:pt x="26" y="61"/>
                      </a:lnTo>
                      <a:lnTo>
                        <a:pt x="26" y="79"/>
                      </a:lnTo>
                      <a:lnTo>
                        <a:pt x="53" y="87"/>
                      </a:lnTo>
                      <a:lnTo>
                        <a:pt x="53" y="96"/>
                      </a:lnTo>
                      <a:lnTo>
                        <a:pt x="26" y="114"/>
                      </a:lnTo>
                      <a:lnTo>
                        <a:pt x="26" y="131"/>
                      </a:lnTo>
                      <a:lnTo>
                        <a:pt x="53" y="140"/>
                      </a:lnTo>
                      <a:lnTo>
                        <a:pt x="18" y="148"/>
                      </a:lnTo>
                      <a:lnTo>
                        <a:pt x="9" y="166"/>
                      </a:lnTo>
                      <a:lnTo>
                        <a:pt x="53" y="148"/>
                      </a:lnTo>
                      <a:lnTo>
                        <a:pt x="96" y="148"/>
                      </a:lnTo>
                      <a:lnTo>
                        <a:pt x="105" y="140"/>
                      </a:lnTo>
                      <a:lnTo>
                        <a:pt x="105" y="131"/>
                      </a:lnTo>
                      <a:lnTo>
                        <a:pt x="122" y="122"/>
                      </a:lnTo>
                      <a:lnTo>
                        <a:pt x="122" y="114"/>
                      </a:lnTo>
                      <a:lnTo>
                        <a:pt x="105" y="114"/>
                      </a:lnTo>
                      <a:lnTo>
                        <a:pt x="96" y="114"/>
                      </a:lnTo>
                      <a:lnTo>
                        <a:pt x="96" y="105"/>
                      </a:lnTo>
                      <a:lnTo>
                        <a:pt x="79" y="79"/>
                      </a:lnTo>
                      <a:lnTo>
                        <a:pt x="79" y="70"/>
                      </a:lnTo>
                      <a:lnTo>
                        <a:pt x="61" y="53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61" y="26"/>
                      </a:lnTo>
                      <a:lnTo>
                        <a:pt x="35" y="26"/>
                      </a:lnTo>
                      <a:lnTo>
                        <a:pt x="26" y="18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49" name="Freeform 311"/>
                <p:cNvSpPr>
                  <a:spLocks/>
                </p:cNvSpPr>
                <p:nvPr/>
              </p:nvSpPr>
              <p:spPr bwMode="auto">
                <a:xfrm>
                  <a:off x="4146700" y="1708098"/>
                  <a:ext cx="74990" cy="84599"/>
                </a:xfrm>
                <a:custGeom>
                  <a:avLst/>
                  <a:gdLst>
                    <a:gd name="T0" fmla="*/ 2147483647 w 70"/>
                    <a:gd name="T1" fmla="*/ 2147483647 h 79"/>
                    <a:gd name="T2" fmla="*/ 2147483647 w 70"/>
                    <a:gd name="T3" fmla="*/ 2147483647 h 79"/>
                    <a:gd name="T4" fmla="*/ 0 w 70"/>
                    <a:gd name="T5" fmla="*/ 2147483647 h 79"/>
                    <a:gd name="T6" fmla="*/ 2147483647 w 70"/>
                    <a:gd name="T7" fmla="*/ 2147483647 h 79"/>
                    <a:gd name="T8" fmla="*/ 2147483647 w 70"/>
                    <a:gd name="T9" fmla="*/ 2147483647 h 79"/>
                    <a:gd name="T10" fmla="*/ 2147483647 w 70"/>
                    <a:gd name="T11" fmla="*/ 2147483647 h 79"/>
                    <a:gd name="T12" fmla="*/ 2147483647 w 70"/>
                    <a:gd name="T13" fmla="*/ 2147483647 h 79"/>
                    <a:gd name="T14" fmla="*/ 2147483647 w 70"/>
                    <a:gd name="T15" fmla="*/ 2147483647 h 79"/>
                    <a:gd name="T16" fmla="*/ 2147483647 w 70"/>
                    <a:gd name="T17" fmla="*/ 2147483647 h 79"/>
                    <a:gd name="T18" fmla="*/ 2147483647 w 70"/>
                    <a:gd name="T19" fmla="*/ 0 h 79"/>
                    <a:gd name="T20" fmla="*/ 2147483647 w 70"/>
                    <a:gd name="T21" fmla="*/ 2147483647 h 79"/>
                    <a:gd name="T22" fmla="*/ 2147483647 w 70"/>
                    <a:gd name="T23" fmla="*/ 2147483647 h 79"/>
                    <a:gd name="T24" fmla="*/ 2147483647 w 70"/>
                    <a:gd name="T25" fmla="*/ 2147483647 h 79"/>
                    <a:gd name="T26" fmla="*/ 2147483647 w 70"/>
                    <a:gd name="T27" fmla="*/ 2147483647 h 7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0"/>
                    <a:gd name="T43" fmla="*/ 0 h 79"/>
                    <a:gd name="T44" fmla="*/ 70 w 70"/>
                    <a:gd name="T45" fmla="*/ 79 h 7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0" h="79">
                      <a:moveTo>
                        <a:pt x="9" y="35"/>
                      </a:moveTo>
                      <a:lnTo>
                        <a:pt x="18" y="44"/>
                      </a:lnTo>
                      <a:lnTo>
                        <a:pt x="0" y="61"/>
                      </a:lnTo>
                      <a:lnTo>
                        <a:pt x="18" y="79"/>
                      </a:lnTo>
                      <a:lnTo>
                        <a:pt x="44" y="79"/>
                      </a:lnTo>
                      <a:lnTo>
                        <a:pt x="70" y="53"/>
                      </a:lnTo>
                      <a:lnTo>
                        <a:pt x="70" y="35"/>
                      </a:lnTo>
                      <a:lnTo>
                        <a:pt x="52" y="26"/>
                      </a:lnTo>
                      <a:lnTo>
                        <a:pt x="61" y="9"/>
                      </a:lnTo>
                      <a:lnTo>
                        <a:pt x="61" y="0"/>
                      </a:lnTo>
                      <a:lnTo>
                        <a:pt x="44" y="9"/>
                      </a:lnTo>
                      <a:lnTo>
                        <a:pt x="35" y="26"/>
                      </a:lnTo>
                      <a:lnTo>
                        <a:pt x="18" y="26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0" name="Freeform 8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1" name="Freeform 9"/>
                <p:cNvSpPr>
                  <a:spLocks/>
                </p:cNvSpPr>
                <p:nvPr/>
              </p:nvSpPr>
              <p:spPr bwMode="auto">
                <a:xfrm>
                  <a:off x="4987660" y="2072192"/>
                  <a:ext cx="177834" cy="158488"/>
                </a:xfrm>
                <a:custGeom>
                  <a:avLst/>
                  <a:gdLst>
                    <a:gd name="T0" fmla="*/ 2147483647 w 166"/>
                    <a:gd name="T1" fmla="*/ 2147483647 h 148"/>
                    <a:gd name="T2" fmla="*/ 2147483647 w 166"/>
                    <a:gd name="T3" fmla="*/ 0 h 148"/>
                    <a:gd name="T4" fmla="*/ 2147483647 w 166"/>
                    <a:gd name="T5" fmla="*/ 0 h 148"/>
                    <a:gd name="T6" fmla="*/ 2147483647 w 166"/>
                    <a:gd name="T7" fmla="*/ 2147483647 h 148"/>
                    <a:gd name="T8" fmla="*/ 2147483647 w 166"/>
                    <a:gd name="T9" fmla="*/ 2147483647 h 148"/>
                    <a:gd name="T10" fmla="*/ 0 w 166"/>
                    <a:gd name="T11" fmla="*/ 2147483647 h 148"/>
                    <a:gd name="T12" fmla="*/ 2147483647 w 166"/>
                    <a:gd name="T13" fmla="*/ 2147483647 h 148"/>
                    <a:gd name="T14" fmla="*/ 2147483647 w 166"/>
                    <a:gd name="T15" fmla="*/ 2147483647 h 148"/>
                    <a:gd name="T16" fmla="*/ 2147483647 w 166"/>
                    <a:gd name="T17" fmla="*/ 2147483647 h 148"/>
                    <a:gd name="T18" fmla="*/ 2147483647 w 166"/>
                    <a:gd name="T19" fmla="*/ 2147483647 h 148"/>
                    <a:gd name="T20" fmla="*/ 2147483647 w 166"/>
                    <a:gd name="T21" fmla="*/ 2147483647 h 148"/>
                    <a:gd name="T22" fmla="*/ 2147483647 w 166"/>
                    <a:gd name="T23" fmla="*/ 2147483647 h 148"/>
                    <a:gd name="T24" fmla="*/ 2147483647 w 166"/>
                    <a:gd name="T25" fmla="*/ 2147483647 h 148"/>
                    <a:gd name="T26" fmla="*/ 2147483647 w 166"/>
                    <a:gd name="T27" fmla="*/ 2147483647 h 148"/>
                    <a:gd name="T28" fmla="*/ 2147483647 w 166"/>
                    <a:gd name="T29" fmla="*/ 2147483647 h 148"/>
                    <a:gd name="T30" fmla="*/ 2147483647 w 166"/>
                    <a:gd name="T31" fmla="*/ 2147483647 h 148"/>
                    <a:gd name="T32" fmla="*/ 2147483647 w 166"/>
                    <a:gd name="T33" fmla="*/ 2147483647 h 148"/>
                    <a:gd name="T34" fmla="*/ 2147483647 w 166"/>
                    <a:gd name="T35" fmla="*/ 2147483647 h 148"/>
                    <a:gd name="T36" fmla="*/ 2147483647 w 166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6"/>
                    <a:gd name="T58" fmla="*/ 0 h 148"/>
                    <a:gd name="T59" fmla="*/ 166 w 166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6" h="148">
                      <a:moveTo>
                        <a:pt x="113" y="35"/>
                      </a:moveTo>
                      <a:lnTo>
                        <a:pt x="87" y="0"/>
                      </a:lnTo>
                      <a:lnTo>
                        <a:pt x="52" y="0"/>
                      </a:lnTo>
                      <a:lnTo>
                        <a:pt x="35" y="18"/>
                      </a:lnTo>
                      <a:lnTo>
                        <a:pt x="35" y="52"/>
                      </a:lnTo>
                      <a:lnTo>
                        <a:pt x="0" y="70"/>
                      </a:lnTo>
                      <a:lnTo>
                        <a:pt x="9" y="87"/>
                      </a:lnTo>
                      <a:lnTo>
                        <a:pt x="78" y="122"/>
                      </a:lnTo>
                      <a:lnTo>
                        <a:pt x="87" y="140"/>
                      </a:lnTo>
                      <a:lnTo>
                        <a:pt x="105" y="148"/>
                      </a:lnTo>
                      <a:lnTo>
                        <a:pt x="139" y="148"/>
                      </a:lnTo>
                      <a:lnTo>
                        <a:pt x="139" y="131"/>
                      </a:lnTo>
                      <a:lnTo>
                        <a:pt x="157" y="122"/>
                      </a:lnTo>
                      <a:lnTo>
                        <a:pt x="166" y="122"/>
                      </a:lnTo>
                      <a:lnTo>
                        <a:pt x="148" y="105"/>
                      </a:lnTo>
                      <a:lnTo>
                        <a:pt x="148" y="87"/>
                      </a:lnTo>
                      <a:lnTo>
                        <a:pt x="113" y="70"/>
                      </a:lnTo>
                      <a:lnTo>
                        <a:pt x="105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2" name="Freeform 10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3" name="Freeform 11"/>
                <p:cNvSpPr>
                  <a:spLocks/>
                </p:cNvSpPr>
                <p:nvPr/>
              </p:nvSpPr>
              <p:spPr bwMode="auto">
                <a:xfrm>
                  <a:off x="4912670" y="2072192"/>
                  <a:ext cx="130697" cy="93166"/>
                </a:xfrm>
                <a:custGeom>
                  <a:avLst/>
                  <a:gdLst>
                    <a:gd name="T0" fmla="*/ 2147483647 w 122"/>
                    <a:gd name="T1" fmla="*/ 2147483647 h 87"/>
                    <a:gd name="T2" fmla="*/ 2147483647 w 122"/>
                    <a:gd name="T3" fmla="*/ 2147483647 h 87"/>
                    <a:gd name="T4" fmla="*/ 2147483647 w 122"/>
                    <a:gd name="T5" fmla="*/ 2147483647 h 87"/>
                    <a:gd name="T6" fmla="*/ 2147483647 w 122"/>
                    <a:gd name="T7" fmla="*/ 2147483647 h 87"/>
                    <a:gd name="T8" fmla="*/ 2147483647 w 122"/>
                    <a:gd name="T9" fmla="*/ 2147483647 h 87"/>
                    <a:gd name="T10" fmla="*/ 2147483647 w 122"/>
                    <a:gd name="T11" fmla="*/ 2147483647 h 87"/>
                    <a:gd name="T12" fmla="*/ 2147483647 w 122"/>
                    <a:gd name="T13" fmla="*/ 2147483647 h 87"/>
                    <a:gd name="T14" fmla="*/ 2147483647 w 122"/>
                    <a:gd name="T15" fmla="*/ 2147483647 h 87"/>
                    <a:gd name="T16" fmla="*/ 2147483647 w 122"/>
                    <a:gd name="T17" fmla="*/ 0 h 87"/>
                    <a:gd name="T18" fmla="*/ 2147483647 w 122"/>
                    <a:gd name="T19" fmla="*/ 2147483647 h 87"/>
                    <a:gd name="T20" fmla="*/ 2147483647 w 122"/>
                    <a:gd name="T21" fmla="*/ 2147483647 h 87"/>
                    <a:gd name="T22" fmla="*/ 0 w 122"/>
                    <a:gd name="T23" fmla="*/ 2147483647 h 87"/>
                    <a:gd name="T24" fmla="*/ 2147483647 w 122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22"/>
                    <a:gd name="T40" fmla="*/ 0 h 87"/>
                    <a:gd name="T41" fmla="*/ 122 w 122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22" h="87">
                      <a:moveTo>
                        <a:pt x="9" y="44"/>
                      </a:moveTo>
                      <a:lnTo>
                        <a:pt x="35" y="44"/>
                      </a:lnTo>
                      <a:lnTo>
                        <a:pt x="35" y="52"/>
                      </a:lnTo>
                      <a:lnTo>
                        <a:pt x="18" y="70"/>
                      </a:lnTo>
                      <a:lnTo>
                        <a:pt x="18" y="79"/>
                      </a:lnTo>
                      <a:lnTo>
                        <a:pt x="35" y="87"/>
                      </a:lnTo>
                      <a:lnTo>
                        <a:pt x="105" y="52"/>
                      </a:lnTo>
                      <a:lnTo>
                        <a:pt x="105" y="18"/>
                      </a:lnTo>
                      <a:lnTo>
                        <a:pt x="122" y="0"/>
                      </a:lnTo>
                      <a:lnTo>
                        <a:pt x="35" y="9"/>
                      </a:lnTo>
                      <a:lnTo>
                        <a:pt x="9" y="26"/>
                      </a:lnTo>
                      <a:lnTo>
                        <a:pt x="0" y="26"/>
                      </a:lnTo>
                      <a:lnTo>
                        <a:pt x="9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4" name="Freeform 12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5" name="Freeform 13"/>
                <p:cNvSpPr>
                  <a:spLocks/>
                </p:cNvSpPr>
                <p:nvPr/>
              </p:nvSpPr>
              <p:spPr bwMode="auto">
                <a:xfrm>
                  <a:off x="5062650" y="2016507"/>
                  <a:ext cx="364238" cy="289134"/>
                </a:xfrm>
                <a:custGeom>
                  <a:avLst/>
                  <a:gdLst>
                    <a:gd name="T0" fmla="*/ 2147483647 w 340"/>
                    <a:gd name="T1" fmla="*/ 2147483647 h 270"/>
                    <a:gd name="T2" fmla="*/ 2147483647 w 340"/>
                    <a:gd name="T3" fmla="*/ 2147483647 h 270"/>
                    <a:gd name="T4" fmla="*/ 2147483647 w 340"/>
                    <a:gd name="T5" fmla="*/ 0 h 270"/>
                    <a:gd name="T6" fmla="*/ 2147483647 w 340"/>
                    <a:gd name="T7" fmla="*/ 2147483647 h 270"/>
                    <a:gd name="T8" fmla="*/ 2147483647 w 340"/>
                    <a:gd name="T9" fmla="*/ 2147483647 h 270"/>
                    <a:gd name="T10" fmla="*/ 0 w 340"/>
                    <a:gd name="T11" fmla="*/ 2147483647 h 270"/>
                    <a:gd name="T12" fmla="*/ 2147483647 w 340"/>
                    <a:gd name="T13" fmla="*/ 2147483647 h 270"/>
                    <a:gd name="T14" fmla="*/ 2147483647 w 340"/>
                    <a:gd name="T15" fmla="*/ 2147483647 h 270"/>
                    <a:gd name="T16" fmla="*/ 2147483647 w 340"/>
                    <a:gd name="T17" fmla="*/ 2147483647 h 270"/>
                    <a:gd name="T18" fmla="*/ 2147483647 w 340"/>
                    <a:gd name="T19" fmla="*/ 2147483647 h 270"/>
                    <a:gd name="T20" fmla="*/ 2147483647 w 340"/>
                    <a:gd name="T21" fmla="*/ 2147483647 h 270"/>
                    <a:gd name="T22" fmla="*/ 2147483647 w 340"/>
                    <a:gd name="T23" fmla="*/ 2147483647 h 270"/>
                    <a:gd name="T24" fmla="*/ 2147483647 w 340"/>
                    <a:gd name="T25" fmla="*/ 2147483647 h 270"/>
                    <a:gd name="T26" fmla="*/ 2147483647 w 340"/>
                    <a:gd name="T27" fmla="*/ 2147483647 h 270"/>
                    <a:gd name="T28" fmla="*/ 2147483647 w 340"/>
                    <a:gd name="T29" fmla="*/ 2147483647 h 270"/>
                    <a:gd name="T30" fmla="*/ 2147483647 w 340"/>
                    <a:gd name="T31" fmla="*/ 2147483647 h 270"/>
                    <a:gd name="T32" fmla="*/ 2147483647 w 340"/>
                    <a:gd name="T33" fmla="*/ 2147483647 h 270"/>
                    <a:gd name="T34" fmla="*/ 2147483647 w 340"/>
                    <a:gd name="T35" fmla="*/ 2147483647 h 270"/>
                    <a:gd name="T36" fmla="*/ 2147483647 w 340"/>
                    <a:gd name="T37" fmla="*/ 2147483647 h 270"/>
                    <a:gd name="T38" fmla="*/ 2147483647 w 340"/>
                    <a:gd name="T39" fmla="*/ 2147483647 h 270"/>
                    <a:gd name="T40" fmla="*/ 2147483647 w 340"/>
                    <a:gd name="T41" fmla="*/ 2147483647 h 270"/>
                    <a:gd name="T42" fmla="*/ 2147483647 w 340"/>
                    <a:gd name="T43" fmla="*/ 2147483647 h 270"/>
                    <a:gd name="T44" fmla="*/ 2147483647 w 340"/>
                    <a:gd name="T45" fmla="*/ 2147483647 h 270"/>
                    <a:gd name="T46" fmla="*/ 2147483647 w 340"/>
                    <a:gd name="T47" fmla="*/ 2147483647 h 270"/>
                    <a:gd name="T48" fmla="*/ 2147483647 w 340"/>
                    <a:gd name="T49" fmla="*/ 2147483647 h 270"/>
                    <a:gd name="T50" fmla="*/ 2147483647 w 340"/>
                    <a:gd name="T51" fmla="*/ 2147483647 h 270"/>
                    <a:gd name="T52" fmla="*/ 2147483647 w 340"/>
                    <a:gd name="T53" fmla="*/ 2147483647 h 270"/>
                    <a:gd name="T54" fmla="*/ 2147483647 w 340"/>
                    <a:gd name="T55" fmla="*/ 2147483647 h 270"/>
                    <a:gd name="T56" fmla="*/ 2147483647 w 340"/>
                    <a:gd name="T57" fmla="*/ 2147483647 h 270"/>
                    <a:gd name="T58" fmla="*/ 2147483647 w 340"/>
                    <a:gd name="T59" fmla="*/ 2147483647 h 270"/>
                    <a:gd name="T60" fmla="*/ 2147483647 w 340"/>
                    <a:gd name="T61" fmla="*/ 2147483647 h 270"/>
                    <a:gd name="T62" fmla="*/ 2147483647 w 340"/>
                    <a:gd name="T63" fmla="*/ 2147483647 h 270"/>
                    <a:gd name="T64" fmla="*/ 2147483647 w 340"/>
                    <a:gd name="T65" fmla="*/ 2147483647 h 270"/>
                    <a:gd name="T66" fmla="*/ 2147483647 w 340"/>
                    <a:gd name="T67" fmla="*/ 2147483647 h 270"/>
                    <a:gd name="T68" fmla="*/ 2147483647 w 340"/>
                    <a:gd name="T69" fmla="*/ 2147483647 h 270"/>
                    <a:gd name="T70" fmla="*/ 2147483647 w 340"/>
                    <a:gd name="T71" fmla="*/ 2147483647 h 270"/>
                    <a:gd name="T72" fmla="*/ 2147483647 w 340"/>
                    <a:gd name="T73" fmla="*/ 2147483647 h 27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40"/>
                    <a:gd name="T112" fmla="*/ 0 h 270"/>
                    <a:gd name="T113" fmla="*/ 340 w 340"/>
                    <a:gd name="T114" fmla="*/ 270 h 27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40" h="270">
                      <a:moveTo>
                        <a:pt x="69" y="35"/>
                      </a:moveTo>
                      <a:lnTo>
                        <a:pt x="61" y="9"/>
                      </a:lnTo>
                      <a:lnTo>
                        <a:pt x="43" y="0"/>
                      </a:lnTo>
                      <a:lnTo>
                        <a:pt x="35" y="17"/>
                      </a:ln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52"/>
                      </a:lnTo>
                      <a:lnTo>
                        <a:pt x="43" y="87"/>
                      </a:lnTo>
                      <a:lnTo>
                        <a:pt x="35" y="96"/>
                      </a:lnTo>
                      <a:lnTo>
                        <a:pt x="43" y="122"/>
                      </a:lnTo>
                      <a:lnTo>
                        <a:pt x="78" y="139"/>
                      </a:lnTo>
                      <a:lnTo>
                        <a:pt x="78" y="157"/>
                      </a:lnTo>
                      <a:lnTo>
                        <a:pt x="96" y="174"/>
                      </a:lnTo>
                      <a:lnTo>
                        <a:pt x="104" y="174"/>
                      </a:lnTo>
                      <a:lnTo>
                        <a:pt x="130" y="218"/>
                      </a:lnTo>
                      <a:lnTo>
                        <a:pt x="157" y="218"/>
                      </a:lnTo>
                      <a:lnTo>
                        <a:pt x="165" y="235"/>
                      </a:lnTo>
                      <a:lnTo>
                        <a:pt x="200" y="244"/>
                      </a:lnTo>
                      <a:lnTo>
                        <a:pt x="226" y="227"/>
                      </a:lnTo>
                      <a:lnTo>
                        <a:pt x="235" y="235"/>
                      </a:lnTo>
                      <a:lnTo>
                        <a:pt x="235" y="253"/>
                      </a:lnTo>
                      <a:lnTo>
                        <a:pt x="322" y="270"/>
                      </a:lnTo>
                      <a:lnTo>
                        <a:pt x="322" y="253"/>
                      </a:lnTo>
                      <a:lnTo>
                        <a:pt x="340" y="244"/>
                      </a:lnTo>
                      <a:lnTo>
                        <a:pt x="331" y="218"/>
                      </a:lnTo>
                      <a:lnTo>
                        <a:pt x="296" y="192"/>
                      </a:lnTo>
                      <a:lnTo>
                        <a:pt x="305" y="157"/>
                      </a:lnTo>
                      <a:lnTo>
                        <a:pt x="296" y="148"/>
                      </a:lnTo>
                      <a:lnTo>
                        <a:pt x="270" y="104"/>
                      </a:lnTo>
                      <a:lnTo>
                        <a:pt x="287" y="87"/>
                      </a:lnTo>
                      <a:lnTo>
                        <a:pt x="279" y="61"/>
                      </a:lnTo>
                      <a:lnTo>
                        <a:pt x="226" y="35"/>
                      </a:lnTo>
                      <a:lnTo>
                        <a:pt x="183" y="26"/>
                      </a:lnTo>
                      <a:lnTo>
                        <a:pt x="113" y="61"/>
                      </a:lnTo>
                      <a:lnTo>
                        <a:pt x="104" y="61"/>
                      </a:lnTo>
                      <a:lnTo>
                        <a:pt x="104" y="52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6" name="Freeform 14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7" name="Freeform 15"/>
                <p:cNvSpPr>
                  <a:spLocks/>
                </p:cNvSpPr>
                <p:nvPr/>
              </p:nvSpPr>
              <p:spPr bwMode="auto">
                <a:xfrm>
                  <a:off x="5351898" y="2044350"/>
                  <a:ext cx="243182" cy="177764"/>
                </a:xfrm>
                <a:custGeom>
                  <a:avLst/>
                  <a:gdLst>
                    <a:gd name="T0" fmla="*/ 2147483647 w 227"/>
                    <a:gd name="T1" fmla="*/ 0 h 166"/>
                    <a:gd name="T2" fmla="*/ 2147483647 w 227"/>
                    <a:gd name="T3" fmla="*/ 2147483647 h 166"/>
                    <a:gd name="T4" fmla="*/ 2147483647 w 227"/>
                    <a:gd name="T5" fmla="*/ 2147483647 h 166"/>
                    <a:gd name="T6" fmla="*/ 2147483647 w 227"/>
                    <a:gd name="T7" fmla="*/ 2147483647 h 166"/>
                    <a:gd name="T8" fmla="*/ 2147483647 w 227"/>
                    <a:gd name="T9" fmla="*/ 2147483647 h 166"/>
                    <a:gd name="T10" fmla="*/ 2147483647 w 227"/>
                    <a:gd name="T11" fmla="*/ 2147483647 h 166"/>
                    <a:gd name="T12" fmla="*/ 2147483647 w 227"/>
                    <a:gd name="T13" fmla="*/ 2147483647 h 166"/>
                    <a:gd name="T14" fmla="*/ 2147483647 w 227"/>
                    <a:gd name="T15" fmla="*/ 2147483647 h 166"/>
                    <a:gd name="T16" fmla="*/ 0 w 227"/>
                    <a:gd name="T17" fmla="*/ 2147483647 h 166"/>
                    <a:gd name="T18" fmla="*/ 2147483647 w 227"/>
                    <a:gd name="T19" fmla="*/ 2147483647 h 166"/>
                    <a:gd name="T20" fmla="*/ 2147483647 w 227"/>
                    <a:gd name="T21" fmla="*/ 2147483647 h 166"/>
                    <a:gd name="T22" fmla="*/ 2147483647 w 227"/>
                    <a:gd name="T23" fmla="*/ 2147483647 h 166"/>
                    <a:gd name="T24" fmla="*/ 2147483647 w 227"/>
                    <a:gd name="T25" fmla="*/ 2147483647 h 166"/>
                    <a:gd name="T26" fmla="*/ 2147483647 w 227"/>
                    <a:gd name="T27" fmla="*/ 2147483647 h 166"/>
                    <a:gd name="T28" fmla="*/ 2147483647 w 227"/>
                    <a:gd name="T29" fmla="*/ 2147483647 h 166"/>
                    <a:gd name="T30" fmla="*/ 2147483647 w 227"/>
                    <a:gd name="T31" fmla="*/ 2147483647 h 166"/>
                    <a:gd name="T32" fmla="*/ 2147483647 w 227"/>
                    <a:gd name="T33" fmla="*/ 2147483647 h 166"/>
                    <a:gd name="T34" fmla="*/ 2147483647 w 227"/>
                    <a:gd name="T35" fmla="*/ 2147483647 h 166"/>
                    <a:gd name="T36" fmla="*/ 2147483647 w 227"/>
                    <a:gd name="T37" fmla="*/ 2147483647 h 166"/>
                    <a:gd name="T38" fmla="*/ 2147483647 w 227"/>
                    <a:gd name="T39" fmla="*/ 2147483647 h 166"/>
                    <a:gd name="T40" fmla="*/ 2147483647 w 227"/>
                    <a:gd name="T41" fmla="*/ 2147483647 h 166"/>
                    <a:gd name="T42" fmla="*/ 2147483647 w 227"/>
                    <a:gd name="T43" fmla="*/ 2147483647 h 166"/>
                    <a:gd name="T44" fmla="*/ 2147483647 w 227"/>
                    <a:gd name="T45" fmla="*/ 2147483647 h 166"/>
                    <a:gd name="T46" fmla="*/ 2147483647 w 227"/>
                    <a:gd name="T47" fmla="*/ 2147483647 h 166"/>
                    <a:gd name="T48" fmla="*/ 2147483647 w 227"/>
                    <a:gd name="T49" fmla="*/ 2147483647 h 166"/>
                    <a:gd name="T50" fmla="*/ 2147483647 w 227"/>
                    <a:gd name="T51" fmla="*/ 2147483647 h 166"/>
                    <a:gd name="T52" fmla="*/ 2147483647 w 227"/>
                    <a:gd name="T53" fmla="*/ 2147483647 h 166"/>
                    <a:gd name="T54" fmla="*/ 2147483647 w 227"/>
                    <a:gd name="T55" fmla="*/ 2147483647 h 166"/>
                    <a:gd name="T56" fmla="*/ 2147483647 w 227"/>
                    <a:gd name="T57" fmla="*/ 0 h 16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7"/>
                    <a:gd name="T88" fmla="*/ 0 h 166"/>
                    <a:gd name="T89" fmla="*/ 227 w 227"/>
                    <a:gd name="T90" fmla="*/ 166 h 16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7" h="166">
                      <a:moveTo>
                        <a:pt x="148" y="0"/>
                      </a:moveTo>
                      <a:lnTo>
                        <a:pt x="139" y="17"/>
                      </a:lnTo>
                      <a:lnTo>
                        <a:pt x="105" y="26"/>
                      </a:lnTo>
                      <a:lnTo>
                        <a:pt x="96" y="17"/>
                      </a:lnTo>
                      <a:lnTo>
                        <a:pt x="70" y="17"/>
                      </a:lnTo>
                      <a:lnTo>
                        <a:pt x="52" y="44"/>
                      </a:lnTo>
                      <a:lnTo>
                        <a:pt x="35" y="52"/>
                      </a:lnTo>
                      <a:lnTo>
                        <a:pt x="17" y="61"/>
                      </a:lnTo>
                      <a:lnTo>
                        <a:pt x="0" y="78"/>
                      </a:lnTo>
                      <a:lnTo>
                        <a:pt x="26" y="122"/>
                      </a:lnTo>
                      <a:lnTo>
                        <a:pt x="35" y="131"/>
                      </a:lnTo>
                      <a:lnTo>
                        <a:pt x="26" y="166"/>
                      </a:lnTo>
                      <a:lnTo>
                        <a:pt x="61" y="166"/>
                      </a:lnTo>
                      <a:lnTo>
                        <a:pt x="105" y="157"/>
                      </a:lnTo>
                      <a:lnTo>
                        <a:pt x="122" y="131"/>
                      </a:lnTo>
                      <a:lnTo>
                        <a:pt x="139" y="122"/>
                      </a:lnTo>
                      <a:lnTo>
                        <a:pt x="148" y="131"/>
                      </a:lnTo>
                      <a:lnTo>
                        <a:pt x="157" y="78"/>
                      </a:lnTo>
                      <a:lnTo>
                        <a:pt x="174" y="70"/>
                      </a:lnTo>
                      <a:lnTo>
                        <a:pt x="183" y="52"/>
                      </a:lnTo>
                      <a:lnTo>
                        <a:pt x="174" y="44"/>
                      </a:lnTo>
                      <a:lnTo>
                        <a:pt x="174" y="35"/>
                      </a:lnTo>
                      <a:lnTo>
                        <a:pt x="227" y="26"/>
                      </a:lnTo>
                      <a:lnTo>
                        <a:pt x="218" y="17"/>
                      </a:lnTo>
                      <a:lnTo>
                        <a:pt x="183" y="9"/>
                      </a:lnTo>
                      <a:lnTo>
                        <a:pt x="183" y="26"/>
                      </a:lnTo>
                      <a:lnTo>
                        <a:pt x="166" y="26"/>
                      </a:lnTo>
                      <a:lnTo>
                        <a:pt x="166" y="9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8" name="Freeform 16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59" name="Freeform 17"/>
                <p:cNvSpPr>
                  <a:spLocks/>
                </p:cNvSpPr>
                <p:nvPr/>
              </p:nvSpPr>
              <p:spPr bwMode="auto">
                <a:xfrm>
                  <a:off x="5389393" y="2072192"/>
                  <a:ext cx="243182" cy="261291"/>
                </a:xfrm>
                <a:custGeom>
                  <a:avLst/>
                  <a:gdLst>
                    <a:gd name="T0" fmla="*/ 2147483647 w 227"/>
                    <a:gd name="T1" fmla="*/ 2147483647 h 244"/>
                    <a:gd name="T2" fmla="*/ 2147483647 w 227"/>
                    <a:gd name="T3" fmla="*/ 2147483647 h 244"/>
                    <a:gd name="T4" fmla="*/ 2147483647 w 227"/>
                    <a:gd name="T5" fmla="*/ 2147483647 h 244"/>
                    <a:gd name="T6" fmla="*/ 2147483647 w 227"/>
                    <a:gd name="T7" fmla="*/ 0 h 244"/>
                    <a:gd name="T8" fmla="*/ 2147483647 w 227"/>
                    <a:gd name="T9" fmla="*/ 2147483647 h 244"/>
                    <a:gd name="T10" fmla="*/ 2147483647 w 227"/>
                    <a:gd name="T11" fmla="*/ 2147483647 h 244"/>
                    <a:gd name="T12" fmla="*/ 2147483647 w 227"/>
                    <a:gd name="T13" fmla="*/ 2147483647 h 244"/>
                    <a:gd name="T14" fmla="*/ 2147483647 w 227"/>
                    <a:gd name="T15" fmla="*/ 2147483647 h 244"/>
                    <a:gd name="T16" fmla="*/ 2147483647 w 227"/>
                    <a:gd name="T17" fmla="*/ 2147483647 h 244"/>
                    <a:gd name="T18" fmla="*/ 2147483647 w 227"/>
                    <a:gd name="T19" fmla="*/ 2147483647 h 244"/>
                    <a:gd name="T20" fmla="*/ 2147483647 w 227"/>
                    <a:gd name="T21" fmla="*/ 2147483647 h 244"/>
                    <a:gd name="T22" fmla="*/ 2147483647 w 227"/>
                    <a:gd name="T23" fmla="*/ 2147483647 h 244"/>
                    <a:gd name="T24" fmla="*/ 2147483647 w 227"/>
                    <a:gd name="T25" fmla="*/ 2147483647 h 244"/>
                    <a:gd name="T26" fmla="*/ 2147483647 w 227"/>
                    <a:gd name="T27" fmla="*/ 2147483647 h 244"/>
                    <a:gd name="T28" fmla="*/ 0 w 227"/>
                    <a:gd name="T29" fmla="*/ 2147483647 h 244"/>
                    <a:gd name="T30" fmla="*/ 2147483647 w 227"/>
                    <a:gd name="T31" fmla="*/ 2147483647 h 244"/>
                    <a:gd name="T32" fmla="*/ 2147483647 w 227"/>
                    <a:gd name="T33" fmla="*/ 2147483647 h 244"/>
                    <a:gd name="T34" fmla="*/ 2147483647 w 227"/>
                    <a:gd name="T35" fmla="*/ 2147483647 h 244"/>
                    <a:gd name="T36" fmla="*/ 2147483647 w 227"/>
                    <a:gd name="T37" fmla="*/ 2147483647 h 244"/>
                    <a:gd name="T38" fmla="*/ 2147483647 w 227"/>
                    <a:gd name="T39" fmla="*/ 2147483647 h 244"/>
                    <a:gd name="T40" fmla="*/ 2147483647 w 227"/>
                    <a:gd name="T41" fmla="*/ 2147483647 h 244"/>
                    <a:gd name="T42" fmla="*/ 2147483647 w 227"/>
                    <a:gd name="T43" fmla="*/ 2147483647 h 244"/>
                    <a:gd name="T44" fmla="*/ 2147483647 w 227"/>
                    <a:gd name="T45" fmla="*/ 2147483647 h 244"/>
                    <a:gd name="T46" fmla="*/ 2147483647 w 227"/>
                    <a:gd name="T47" fmla="*/ 2147483647 h 244"/>
                    <a:gd name="T48" fmla="*/ 2147483647 w 227"/>
                    <a:gd name="T49" fmla="*/ 2147483647 h 244"/>
                    <a:gd name="T50" fmla="*/ 2147483647 w 227"/>
                    <a:gd name="T51" fmla="*/ 2147483647 h 244"/>
                    <a:gd name="T52" fmla="*/ 2147483647 w 227"/>
                    <a:gd name="T53" fmla="*/ 2147483647 h 244"/>
                    <a:gd name="T54" fmla="*/ 2147483647 w 227"/>
                    <a:gd name="T55" fmla="*/ 2147483647 h 244"/>
                    <a:gd name="T56" fmla="*/ 2147483647 w 227"/>
                    <a:gd name="T57" fmla="*/ 2147483647 h 244"/>
                    <a:gd name="T58" fmla="*/ 2147483647 w 227"/>
                    <a:gd name="T59" fmla="*/ 2147483647 h 244"/>
                    <a:gd name="T60" fmla="*/ 2147483647 w 227"/>
                    <a:gd name="T61" fmla="*/ 2147483647 h 244"/>
                    <a:gd name="T62" fmla="*/ 2147483647 w 227"/>
                    <a:gd name="T63" fmla="*/ 2147483647 h 24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7"/>
                    <a:gd name="T97" fmla="*/ 0 h 244"/>
                    <a:gd name="T98" fmla="*/ 227 w 227"/>
                    <a:gd name="T99" fmla="*/ 244 h 24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7" h="244">
                      <a:moveTo>
                        <a:pt x="227" y="35"/>
                      </a:moveTo>
                      <a:lnTo>
                        <a:pt x="227" y="26"/>
                      </a:lnTo>
                      <a:lnTo>
                        <a:pt x="209" y="18"/>
                      </a:lnTo>
                      <a:lnTo>
                        <a:pt x="192" y="0"/>
                      </a:lnTo>
                      <a:lnTo>
                        <a:pt x="139" y="9"/>
                      </a:lnTo>
                      <a:lnTo>
                        <a:pt x="139" y="18"/>
                      </a:lnTo>
                      <a:lnTo>
                        <a:pt x="148" y="26"/>
                      </a:lnTo>
                      <a:lnTo>
                        <a:pt x="139" y="44"/>
                      </a:lnTo>
                      <a:lnTo>
                        <a:pt x="122" y="52"/>
                      </a:lnTo>
                      <a:lnTo>
                        <a:pt x="113" y="105"/>
                      </a:lnTo>
                      <a:lnTo>
                        <a:pt x="104" y="96"/>
                      </a:lnTo>
                      <a:lnTo>
                        <a:pt x="87" y="105"/>
                      </a:lnTo>
                      <a:lnTo>
                        <a:pt x="70" y="131"/>
                      </a:lnTo>
                      <a:lnTo>
                        <a:pt x="35" y="140"/>
                      </a:lnTo>
                      <a:lnTo>
                        <a:pt x="0" y="140"/>
                      </a:lnTo>
                      <a:lnTo>
                        <a:pt x="26" y="166"/>
                      </a:lnTo>
                      <a:lnTo>
                        <a:pt x="35" y="192"/>
                      </a:lnTo>
                      <a:lnTo>
                        <a:pt x="17" y="201"/>
                      </a:lnTo>
                      <a:lnTo>
                        <a:pt x="17" y="218"/>
                      </a:lnTo>
                      <a:lnTo>
                        <a:pt x="87" y="218"/>
                      </a:lnTo>
                      <a:lnTo>
                        <a:pt x="96" y="227"/>
                      </a:lnTo>
                      <a:lnTo>
                        <a:pt x="122" y="244"/>
                      </a:lnTo>
                      <a:lnTo>
                        <a:pt x="165" y="227"/>
                      </a:lnTo>
                      <a:lnTo>
                        <a:pt x="174" y="218"/>
                      </a:lnTo>
                      <a:lnTo>
                        <a:pt x="139" y="175"/>
                      </a:lnTo>
                      <a:lnTo>
                        <a:pt x="165" y="166"/>
                      </a:lnTo>
                      <a:lnTo>
                        <a:pt x="209" y="114"/>
                      </a:lnTo>
                      <a:lnTo>
                        <a:pt x="209" y="96"/>
                      </a:lnTo>
                      <a:lnTo>
                        <a:pt x="218" y="87"/>
                      </a:lnTo>
                      <a:lnTo>
                        <a:pt x="192" y="70"/>
                      </a:lnTo>
                      <a:lnTo>
                        <a:pt x="183" y="44"/>
                      </a:lnTo>
                      <a:lnTo>
                        <a:pt x="227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0" name="Freeform 148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1" name="Freeform 149"/>
                <p:cNvSpPr>
                  <a:spLocks/>
                </p:cNvSpPr>
                <p:nvPr/>
              </p:nvSpPr>
              <p:spPr bwMode="auto">
                <a:xfrm>
                  <a:off x="5706493" y="1783058"/>
                  <a:ext cx="532430" cy="195969"/>
                </a:xfrm>
                <a:custGeom>
                  <a:avLst/>
                  <a:gdLst>
                    <a:gd name="T0" fmla="*/ 2147483647 w 497"/>
                    <a:gd name="T1" fmla="*/ 2147483647 h 183"/>
                    <a:gd name="T2" fmla="*/ 2147483647 w 497"/>
                    <a:gd name="T3" fmla="*/ 2147483647 h 183"/>
                    <a:gd name="T4" fmla="*/ 2147483647 w 497"/>
                    <a:gd name="T5" fmla="*/ 2147483647 h 183"/>
                    <a:gd name="T6" fmla="*/ 2147483647 w 497"/>
                    <a:gd name="T7" fmla="*/ 0 h 183"/>
                    <a:gd name="T8" fmla="*/ 2147483647 w 497"/>
                    <a:gd name="T9" fmla="*/ 2147483647 h 183"/>
                    <a:gd name="T10" fmla="*/ 2147483647 w 497"/>
                    <a:gd name="T11" fmla="*/ 2147483647 h 183"/>
                    <a:gd name="T12" fmla="*/ 2147483647 w 497"/>
                    <a:gd name="T13" fmla="*/ 2147483647 h 183"/>
                    <a:gd name="T14" fmla="*/ 2147483647 w 497"/>
                    <a:gd name="T15" fmla="*/ 2147483647 h 183"/>
                    <a:gd name="T16" fmla="*/ 0 w 497"/>
                    <a:gd name="T17" fmla="*/ 2147483647 h 183"/>
                    <a:gd name="T18" fmla="*/ 2147483647 w 497"/>
                    <a:gd name="T19" fmla="*/ 2147483647 h 183"/>
                    <a:gd name="T20" fmla="*/ 2147483647 w 497"/>
                    <a:gd name="T21" fmla="*/ 2147483647 h 183"/>
                    <a:gd name="T22" fmla="*/ 2147483647 w 497"/>
                    <a:gd name="T23" fmla="*/ 2147483647 h 183"/>
                    <a:gd name="T24" fmla="*/ 2147483647 w 497"/>
                    <a:gd name="T25" fmla="*/ 2147483647 h 183"/>
                    <a:gd name="T26" fmla="*/ 2147483647 w 497"/>
                    <a:gd name="T27" fmla="*/ 2147483647 h 183"/>
                    <a:gd name="T28" fmla="*/ 2147483647 w 497"/>
                    <a:gd name="T29" fmla="*/ 2147483647 h 183"/>
                    <a:gd name="T30" fmla="*/ 2147483647 w 497"/>
                    <a:gd name="T31" fmla="*/ 2147483647 h 183"/>
                    <a:gd name="T32" fmla="*/ 2147483647 w 497"/>
                    <a:gd name="T33" fmla="*/ 2147483647 h 183"/>
                    <a:gd name="T34" fmla="*/ 2147483647 w 497"/>
                    <a:gd name="T35" fmla="*/ 2147483647 h 183"/>
                    <a:gd name="T36" fmla="*/ 2147483647 w 497"/>
                    <a:gd name="T37" fmla="*/ 2147483647 h 183"/>
                    <a:gd name="T38" fmla="*/ 2147483647 w 497"/>
                    <a:gd name="T39" fmla="*/ 2147483647 h 183"/>
                    <a:gd name="T40" fmla="*/ 2147483647 w 497"/>
                    <a:gd name="T41" fmla="*/ 2147483647 h 183"/>
                    <a:gd name="T42" fmla="*/ 2147483647 w 497"/>
                    <a:gd name="T43" fmla="*/ 2147483647 h 183"/>
                    <a:gd name="T44" fmla="*/ 2147483647 w 497"/>
                    <a:gd name="T45" fmla="*/ 2147483647 h 183"/>
                    <a:gd name="T46" fmla="*/ 2147483647 w 497"/>
                    <a:gd name="T47" fmla="*/ 2147483647 h 183"/>
                    <a:gd name="T48" fmla="*/ 2147483647 w 497"/>
                    <a:gd name="T49" fmla="*/ 2147483647 h 183"/>
                    <a:gd name="T50" fmla="*/ 2147483647 w 497"/>
                    <a:gd name="T51" fmla="*/ 2147483647 h 183"/>
                    <a:gd name="T52" fmla="*/ 2147483647 w 497"/>
                    <a:gd name="T53" fmla="*/ 2147483647 h 183"/>
                    <a:gd name="T54" fmla="*/ 2147483647 w 497"/>
                    <a:gd name="T55" fmla="*/ 2147483647 h 183"/>
                    <a:gd name="T56" fmla="*/ 2147483647 w 497"/>
                    <a:gd name="T57" fmla="*/ 2147483647 h 183"/>
                    <a:gd name="T58" fmla="*/ 2147483647 w 497"/>
                    <a:gd name="T59" fmla="*/ 2147483647 h 183"/>
                    <a:gd name="T60" fmla="*/ 2147483647 w 497"/>
                    <a:gd name="T61" fmla="*/ 2147483647 h 183"/>
                    <a:gd name="T62" fmla="*/ 2147483647 w 497"/>
                    <a:gd name="T63" fmla="*/ 2147483647 h 18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97"/>
                    <a:gd name="T97" fmla="*/ 0 h 183"/>
                    <a:gd name="T98" fmla="*/ 497 w 497"/>
                    <a:gd name="T99" fmla="*/ 183 h 18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97" h="183">
                      <a:moveTo>
                        <a:pt x="262" y="26"/>
                      </a:moveTo>
                      <a:lnTo>
                        <a:pt x="218" y="26"/>
                      </a:lnTo>
                      <a:lnTo>
                        <a:pt x="192" y="9"/>
                      </a:lnTo>
                      <a:lnTo>
                        <a:pt x="131" y="0"/>
                      </a:lnTo>
                      <a:lnTo>
                        <a:pt x="148" y="35"/>
                      </a:lnTo>
                      <a:lnTo>
                        <a:pt x="96" y="35"/>
                      </a:lnTo>
                      <a:lnTo>
                        <a:pt x="79" y="26"/>
                      </a:lnTo>
                      <a:lnTo>
                        <a:pt x="44" y="26"/>
                      </a:lnTo>
                      <a:lnTo>
                        <a:pt x="0" y="44"/>
                      </a:lnTo>
                      <a:lnTo>
                        <a:pt x="9" y="70"/>
                      </a:lnTo>
                      <a:lnTo>
                        <a:pt x="53" y="70"/>
                      </a:lnTo>
                      <a:lnTo>
                        <a:pt x="79" y="96"/>
                      </a:lnTo>
                      <a:lnTo>
                        <a:pt x="79" y="122"/>
                      </a:lnTo>
                      <a:lnTo>
                        <a:pt x="157" y="139"/>
                      </a:lnTo>
                      <a:lnTo>
                        <a:pt x="183" y="166"/>
                      </a:lnTo>
                      <a:lnTo>
                        <a:pt x="262" y="166"/>
                      </a:lnTo>
                      <a:lnTo>
                        <a:pt x="332" y="183"/>
                      </a:lnTo>
                      <a:lnTo>
                        <a:pt x="358" y="166"/>
                      </a:lnTo>
                      <a:lnTo>
                        <a:pt x="393" y="166"/>
                      </a:lnTo>
                      <a:lnTo>
                        <a:pt x="419" y="139"/>
                      </a:lnTo>
                      <a:lnTo>
                        <a:pt x="401" y="122"/>
                      </a:lnTo>
                      <a:lnTo>
                        <a:pt x="428" y="122"/>
                      </a:lnTo>
                      <a:lnTo>
                        <a:pt x="497" y="87"/>
                      </a:lnTo>
                      <a:lnTo>
                        <a:pt x="480" y="70"/>
                      </a:lnTo>
                      <a:lnTo>
                        <a:pt x="454" y="70"/>
                      </a:lnTo>
                      <a:lnTo>
                        <a:pt x="428" y="70"/>
                      </a:lnTo>
                      <a:lnTo>
                        <a:pt x="419" y="52"/>
                      </a:lnTo>
                      <a:lnTo>
                        <a:pt x="428" y="35"/>
                      </a:lnTo>
                      <a:lnTo>
                        <a:pt x="375" y="35"/>
                      </a:lnTo>
                      <a:lnTo>
                        <a:pt x="366" y="44"/>
                      </a:lnTo>
                      <a:lnTo>
                        <a:pt x="297" y="44"/>
                      </a:lnTo>
                      <a:lnTo>
                        <a:pt x="26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2" name="Freeform 150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3" name="Freeform 151"/>
                <p:cNvSpPr>
                  <a:spLocks noEditPoints="1"/>
                </p:cNvSpPr>
                <p:nvPr/>
              </p:nvSpPr>
              <p:spPr bwMode="auto">
                <a:xfrm>
                  <a:off x="5062650" y="1717735"/>
                  <a:ext cx="625632" cy="279496"/>
                </a:xfrm>
                <a:custGeom>
                  <a:avLst/>
                  <a:gdLst>
                    <a:gd name="T0" fmla="*/ 2147483647 w 584"/>
                    <a:gd name="T1" fmla="*/ 2147483647 h 261"/>
                    <a:gd name="T2" fmla="*/ 2147483647 w 584"/>
                    <a:gd name="T3" fmla="*/ 2147483647 h 261"/>
                    <a:gd name="T4" fmla="*/ 2147483647 w 584"/>
                    <a:gd name="T5" fmla="*/ 2147483647 h 261"/>
                    <a:gd name="T6" fmla="*/ 2147483647 w 584"/>
                    <a:gd name="T7" fmla="*/ 2147483647 h 261"/>
                    <a:gd name="T8" fmla="*/ 2147483647 w 584"/>
                    <a:gd name="T9" fmla="*/ 2147483647 h 261"/>
                    <a:gd name="T10" fmla="*/ 2147483647 w 584"/>
                    <a:gd name="T11" fmla="*/ 2147483647 h 261"/>
                    <a:gd name="T12" fmla="*/ 2147483647 w 584"/>
                    <a:gd name="T13" fmla="*/ 2147483647 h 261"/>
                    <a:gd name="T14" fmla="*/ 2147483647 w 584"/>
                    <a:gd name="T15" fmla="*/ 2147483647 h 261"/>
                    <a:gd name="T16" fmla="*/ 2147483647 w 584"/>
                    <a:gd name="T17" fmla="*/ 2147483647 h 261"/>
                    <a:gd name="T18" fmla="*/ 2147483647 w 584"/>
                    <a:gd name="T19" fmla="*/ 2147483647 h 261"/>
                    <a:gd name="T20" fmla="*/ 2147483647 w 584"/>
                    <a:gd name="T21" fmla="*/ 2147483647 h 261"/>
                    <a:gd name="T22" fmla="*/ 2147483647 w 584"/>
                    <a:gd name="T23" fmla="*/ 2147483647 h 261"/>
                    <a:gd name="T24" fmla="*/ 2147483647 w 584"/>
                    <a:gd name="T25" fmla="*/ 2147483647 h 261"/>
                    <a:gd name="T26" fmla="*/ 2147483647 w 584"/>
                    <a:gd name="T27" fmla="*/ 2147483647 h 261"/>
                    <a:gd name="T28" fmla="*/ 2147483647 w 584"/>
                    <a:gd name="T29" fmla="*/ 2147483647 h 261"/>
                    <a:gd name="T30" fmla="*/ 0 w 584"/>
                    <a:gd name="T31" fmla="*/ 2147483647 h 261"/>
                    <a:gd name="T32" fmla="*/ 2147483647 w 584"/>
                    <a:gd name="T33" fmla="*/ 2147483647 h 261"/>
                    <a:gd name="T34" fmla="*/ 2147483647 w 584"/>
                    <a:gd name="T35" fmla="*/ 2147483647 h 261"/>
                    <a:gd name="T36" fmla="*/ 2147483647 w 584"/>
                    <a:gd name="T37" fmla="*/ 2147483647 h 261"/>
                    <a:gd name="T38" fmla="*/ 2147483647 w 584"/>
                    <a:gd name="T39" fmla="*/ 2147483647 h 261"/>
                    <a:gd name="T40" fmla="*/ 2147483647 w 584"/>
                    <a:gd name="T41" fmla="*/ 2147483647 h 261"/>
                    <a:gd name="T42" fmla="*/ 2147483647 w 584"/>
                    <a:gd name="T43" fmla="*/ 2147483647 h 261"/>
                    <a:gd name="T44" fmla="*/ 2147483647 w 584"/>
                    <a:gd name="T45" fmla="*/ 2147483647 h 261"/>
                    <a:gd name="T46" fmla="*/ 2147483647 w 584"/>
                    <a:gd name="T47" fmla="*/ 2147483647 h 261"/>
                    <a:gd name="T48" fmla="*/ 2147483647 w 584"/>
                    <a:gd name="T49" fmla="*/ 2147483647 h 261"/>
                    <a:gd name="T50" fmla="*/ 2147483647 w 584"/>
                    <a:gd name="T51" fmla="*/ 2147483647 h 261"/>
                    <a:gd name="T52" fmla="*/ 2147483647 w 584"/>
                    <a:gd name="T53" fmla="*/ 2147483647 h 261"/>
                    <a:gd name="T54" fmla="*/ 2147483647 w 584"/>
                    <a:gd name="T55" fmla="*/ 2147483647 h 261"/>
                    <a:gd name="T56" fmla="*/ 2147483647 w 584"/>
                    <a:gd name="T57" fmla="*/ 2147483647 h 261"/>
                    <a:gd name="T58" fmla="*/ 2147483647 w 584"/>
                    <a:gd name="T59" fmla="*/ 2147483647 h 261"/>
                    <a:gd name="T60" fmla="*/ 2147483647 w 584"/>
                    <a:gd name="T61" fmla="*/ 2147483647 h 261"/>
                    <a:gd name="T62" fmla="*/ 2147483647 w 584"/>
                    <a:gd name="T63" fmla="*/ 2147483647 h 261"/>
                    <a:gd name="T64" fmla="*/ 2147483647 w 584"/>
                    <a:gd name="T65" fmla="*/ 2147483647 h 261"/>
                    <a:gd name="T66" fmla="*/ 2147483647 w 584"/>
                    <a:gd name="T67" fmla="*/ 2147483647 h 261"/>
                    <a:gd name="T68" fmla="*/ 2147483647 w 584"/>
                    <a:gd name="T69" fmla="*/ 2147483647 h 261"/>
                    <a:gd name="T70" fmla="*/ 2147483647 w 584"/>
                    <a:gd name="T71" fmla="*/ 2147483647 h 261"/>
                    <a:gd name="T72" fmla="*/ 2147483647 w 584"/>
                    <a:gd name="T73" fmla="*/ 2147483647 h 261"/>
                    <a:gd name="T74" fmla="*/ 2147483647 w 584"/>
                    <a:gd name="T75" fmla="*/ 2147483647 h 261"/>
                    <a:gd name="T76" fmla="*/ 2147483647 w 584"/>
                    <a:gd name="T77" fmla="*/ 2147483647 h 261"/>
                    <a:gd name="T78" fmla="*/ 2147483647 w 584"/>
                    <a:gd name="T79" fmla="*/ 2147483647 h 261"/>
                    <a:gd name="T80" fmla="*/ 2147483647 w 584"/>
                    <a:gd name="T81" fmla="*/ 0 h 261"/>
                    <a:gd name="T82" fmla="*/ 2147483647 w 584"/>
                    <a:gd name="T83" fmla="*/ 2147483647 h 261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84"/>
                    <a:gd name="T127" fmla="*/ 0 h 261"/>
                    <a:gd name="T128" fmla="*/ 584 w 584"/>
                    <a:gd name="T129" fmla="*/ 261 h 261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84" h="261">
                      <a:moveTo>
                        <a:pt x="488" y="174"/>
                      </a:moveTo>
                      <a:lnTo>
                        <a:pt x="505" y="166"/>
                      </a:lnTo>
                      <a:lnTo>
                        <a:pt x="505" y="183"/>
                      </a:lnTo>
                      <a:lnTo>
                        <a:pt x="497" y="183"/>
                      </a:lnTo>
                      <a:lnTo>
                        <a:pt x="470" y="183"/>
                      </a:lnTo>
                      <a:lnTo>
                        <a:pt x="453" y="192"/>
                      </a:lnTo>
                      <a:lnTo>
                        <a:pt x="436" y="200"/>
                      </a:lnTo>
                      <a:lnTo>
                        <a:pt x="427" y="200"/>
                      </a:lnTo>
                      <a:lnTo>
                        <a:pt x="427" y="192"/>
                      </a:lnTo>
                      <a:lnTo>
                        <a:pt x="444" y="174"/>
                      </a:lnTo>
                      <a:lnTo>
                        <a:pt x="470" y="166"/>
                      </a:lnTo>
                      <a:lnTo>
                        <a:pt x="488" y="174"/>
                      </a:lnTo>
                      <a:close/>
                      <a:moveTo>
                        <a:pt x="235" y="26"/>
                      </a:moveTo>
                      <a:lnTo>
                        <a:pt x="191" y="35"/>
                      </a:lnTo>
                      <a:lnTo>
                        <a:pt x="209" y="52"/>
                      </a:lnTo>
                      <a:lnTo>
                        <a:pt x="191" y="52"/>
                      </a:lnTo>
                      <a:lnTo>
                        <a:pt x="183" y="61"/>
                      </a:lnTo>
                      <a:lnTo>
                        <a:pt x="218" y="70"/>
                      </a:lnTo>
                      <a:lnTo>
                        <a:pt x="218" y="78"/>
                      </a:lnTo>
                      <a:lnTo>
                        <a:pt x="183" y="87"/>
                      </a:lnTo>
                      <a:lnTo>
                        <a:pt x="157" y="78"/>
                      </a:lnTo>
                      <a:lnTo>
                        <a:pt x="139" y="78"/>
                      </a:lnTo>
                      <a:lnTo>
                        <a:pt x="113" y="87"/>
                      </a:lnTo>
                      <a:lnTo>
                        <a:pt x="104" y="78"/>
                      </a:lnTo>
                      <a:lnTo>
                        <a:pt x="69" y="70"/>
                      </a:lnTo>
                      <a:lnTo>
                        <a:pt x="43" y="78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26" y="105"/>
                      </a:lnTo>
                      <a:lnTo>
                        <a:pt x="8" y="87"/>
                      </a:lnTo>
                      <a:lnTo>
                        <a:pt x="0" y="105"/>
                      </a:lnTo>
                      <a:lnTo>
                        <a:pt x="0" y="131"/>
                      </a:lnTo>
                      <a:lnTo>
                        <a:pt x="8" y="131"/>
                      </a:lnTo>
                      <a:lnTo>
                        <a:pt x="8" y="139"/>
                      </a:lnTo>
                      <a:lnTo>
                        <a:pt x="26" y="139"/>
                      </a:lnTo>
                      <a:lnTo>
                        <a:pt x="35" y="157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104" y="174"/>
                      </a:lnTo>
                      <a:lnTo>
                        <a:pt x="78" y="183"/>
                      </a:lnTo>
                      <a:lnTo>
                        <a:pt x="69" y="200"/>
                      </a:lnTo>
                      <a:lnTo>
                        <a:pt x="87" y="227"/>
                      </a:lnTo>
                      <a:lnTo>
                        <a:pt x="113" y="227"/>
                      </a:lnTo>
                      <a:lnTo>
                        <a:pt x="113" y="235"/>
                      </a:lnTo>
                      <a:lnTo>
                        <a:pt x="130" y="235"/>
                      </a:lnTo>
                      <a:lnTo>
                        <a:pt x="148" y="244"/>
                      </a:lnTo>
                      <a:lnTo>
                        <a:pt x="165" y="253"/>
                      </a:lnTo>
                      <a:lnTo>
                        <a:pt x="157" y="183"/>
                      </a:lnTo>
                      <a:lnTo>
                        <a:pt x="174" y="183"/>
                      </a:lnTo>
                      <a:lnTo>
                        <a:pt x="183" y="166"/>
                      </a:lnTo>
                      <a:lnTo>
                        <a:pt x="252" y="209"/>
                      </a:lnTo>
                      <a:lnTo>
                        <a:pt x="270" y="209"/>
                      </a:lnTo>
                      <a:lnTo>
                        <a:pt x="287" y="218"/>
                      </a:lnTo>
                      <a:lnTo>
                        <a:pt x="296" y="209"/>
                      </a:lnTo>
                      <a:lnTo>
                        <a:pt x="322" y="227"/>
                      </a:lnTo>
                      <a:lnTo>
                        <a:pt x="331" y="253"/>
                      </a:lnTo>
                      <a:lnTo>
                        <a:pt x="348" y="253"/>
                      </a:lnTo>
                      <a:lnTo>
                        <a:pt x="366" y="261"/>
                      </a:lnTo>
                      <a:lnTo>
                        <a:pt x="375" y="244"/>
                      </a:lnTo>
                      <a:lnTo>
                        <a:pt x="392" y="235"/>
                      </a:lnTo>
                      <a:lnTo>
                        <a:pt x="401" y="227"/>
                      </a:lnTo>
                      <a:lnTo>
                        <a:pt x="427" y="235"/>
                      </a:lnTo>
                      <a:lnTo>
                        <a:pt x="436" y="227"/>
                      </a:lnTo>
                      <a:lnTo>
                        <a:pt x="514" y="227"/>
                      </a:lnTo>
                      <a:lnTo>
                        <a:pt x="532" y="235"/>
                      </a:lnTo>
                      <a:lnTo>
                        <a:pt x="532" y="209"/>
                      </a:lnTo>
                      <a:lnTo>
                        <a:pt x="514" y="183"/>
                      </a:lnTo>
                      <a:lnTo>
                        <a:pt x="549" y="183"/>
                      </a:lnTo>
                      <a:lnTo>
                        <a:pt x="549" y="148"/>
                      </a:lnTo>
                      <a:lnTo>
                        <a:pt x="584" y="148"/>
                      </a:lnTo>
                      <a:lnTo>
                        <a:pt x="575" y="131"/>
                      </a:lnTo>
                      <a:lnTo>
                        <a:pt x="584" y="122"/>
                      </a:lnTo>
                      <a:lnTo>
                        <a:pt x="584" y="105"/>
                      </a:lnTo>
                      <a:lnTo>
                        <a:pt x="532" y="87"/>
                      </a:lnTo>
                      <a:lnTo>
                        <a:pt x="479" y="87"/>
                      </a:lnTo>
                      <a:lnTo>
                        <a:pt x="436" y="44"/>
                      </a:lnTo>
                      <a:lnTo>
                        <a:pt x="418" y="26"/>
                      </a:lnTo>
                      <a:lnTo>
                        <a:pt x="375" y="44"/>
                      </a:lnTo>
                      <a:lnTo>
                        <a:pt x="366" y="35"/>
                      </a:lnTo>
                      <a:lnTo>
                        <a:pt x="331" y="26"/>
                      </a:lnTo>
                      <a:lnTo>
                        <a:pt x="322" y="9"/>
                      </a:lnTo>
                      <a:lnTo>
                        <a:pt x="287" y="0"/>
                      </a:lnTo>
                      <a:lnTo>
                        <a:pt x="279" y="9"/>
                      </a:lnTo>
                      <a:lnTo>
                        <a:pt x="252" y="17"/>
                      </a:lnTo>
                      <a:lnTo>
                        <a:pt x="235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4" name="Freeform 152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5" name="Freeform 153"/>
                <p:cNvSpPr>
                  <a:spLocks/>
                </p:cNvSpPr>
                <p:nvPr/>
              </p:nvSpPr>
              <p:spPr bwMode="auto">
                <a:xfrm>
                  <a:off x="5445099" y="1997232"/>
                  <a:ext cx="140339" cy="74961"/>
                </a:xfrm>
                <a:custGeom>
                  <a:avLst/>
                  <a:gdLst>
                    <a:gd name="T0" fmla="*/ 2147483647 w 131"/>
                    <a:gd name="T1" fmla="*/ 2147483647 h 70"/>
                    <a:gd name="T2" fmla="*/ 2147483647 w 131"/>
                    <a:gd name="T3" fmla="*/ 2147483647 h 70"/>
                    <a:gd name="T4" fmla="*/ 2147483647 w 131"/>
                    <a:gd name="T5" fmla="*/ 2147483647 h 70"/>
                    <a:gd name="T6" fmla="*/ 2147483647 w 131"/>
                    <a:gd name="T7" fmla="*/ 2147483647 h 70"/>
                    <a:gd name="T8" fmla="*/ 2147483647 w 131"/>
                    <a:gd name="T9" fmla="*/ 2147483647 h 70"/>
                    <a:gd name="T10" fmla="*/ 2147483647 w 131"/>
                    <a:gd name="T11" fmla="*/ 2147483647 h 70"/>
                    <a:gd name="T12" fmla="*/ 2147483647 w 131"/>
                    <a:gd name="T13" fmla="*/ 0 h 70"/>
                    <a:gd name="T14" fmla="*/ 2147483647 w 131"/>
                    <a:gd name="T15" fmla="*/ 0 h 70"/>
                    <a:gd name="T16" fmla="*/ 2147483647 w 131"/>
                    <a:gd name="T17" fmla="*/ 2147483647 h 70"/>
                    <a:gd name="T18" fmla="*/ 2147483647 w 131"/>
                    <a:gd name="T19" fmla="*/ 2147483647 h 70"/>
                    <a:gd name="T20" fmla="*/ 0 w 131"/>
                    <a:gd name="T21" fmla="*/ 2147483647 h 70"/>
                    <a:gd name="T22" fmla="*/ 2147483647 w 131"/>
                    <a:gd name="T23" fmla="*/ 2147483647 h 70"/>
                    <a:gd name="T24" fmla="*/ 2147483647 w 131"/>
                    <a:gd name="T25" fmla="*/ 2147483647 h 70"/>
                    <a:gd name="T26" fmla="*/ 2147483647 w 131"/>
                    <a:gd name="T27" fmla="*/ 2147483647 h 70"/>
                    <a:gd name="T28" fmla="*/ 2147483647 w 131"/>
                    <a:gd name="T29" fmla="*/ 2147483647 h 70"/>
                    <a:gd name="T30" fmla="*/ 2147483647 w 131"/>
                    <a:gd name="T31" fmla="*/ 2147483647 h 70"/>
                    <a:gd name="T32" fmla="*/ 2147483647 w 131"/>
                    <a:gd name="T33" fmla="*/ 2147483647 h 70"/>
                    <a:gd name="T34" fmla="*/ 2147483647 w 131"/>
                    <a:gd name="T35" fmla="*/ 2147483647 h 70"/>
                    <a:gd name="T36" fmla="*/ 2147483647 w 131"/>
                    <a:gd name="T37" fmla="*/ 2147483647 h 70"/>
                    <a:gd name="T38" fmla="*/ 2147483647 w 131"/>
                    <a:gd name="T39" fmla="*/ 2147483647 h 70"/>
                    <a:gd name="T40" fmla="*/ 2147483647 w 131"/>
                    <a:gd name="T41" fmla="*/ 2147483647 h 70"/>
                    <a:gd name="T42" fmla="*/ 2147483647 w 131"/>
                    <a:gd name="T43" fmla="*/ 2147483647 h 70"/>
                    <a:gd name="T44" fmla="*/ 2147483647 w 131"/>
                    <a:gd name="T45" fmla="*/ 2147483647 h 70"/>
                    <a:gd name="T46" fmla="*/ 2147483647 w 131"/>
                    <a:gd name="T47" fmla="*/ 2147483647 h 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1"/>
                    <a:gd name="T73" fmla="*/ 0 h 70"/>
                    <a:gd name="T74" fmla="*/ 131 w 131"/>
                    <a:gd name="T75" fmla="*/ 70 h 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1" h="70">
                      <a:moveTo>
                        <a:pt x="113" y="35"/>
                      </a:moveTo>
                      <a:lnTo>
                        <a:pt x="105" y="27"/>
                      </a:lnTo>
                      <a:lnTo>
                        <a:pt x="70" y="35"/>
                      </a:lnTo>
                      <a:lnTo>
                        <a:pt x="35" y="27"/>
                      </a:lnTo>
                      <a:lnTo>
                        <a:pt x="26" y="18"/>
                      </a:lnTo>
                      <a:lnTo>
                        <a:pt x="44" y="9"/>
                      </a:lnTo>
                      <a:lnTo>
                        <a:pt x="35" y="0"/>
                      </a:lnTo>
                      <a:lnTo>
                        <a:pt x="18" y="0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18" y="53"/>
                      </a:lnTo>
                      <a:lnTo>
                        <a:pt x="9" y="61"/>
                      </a:lnTo>
                      <a:lnTo>
                        <a:pt x="18" y="70"/>
                      </a:lnTo>
                      <a:lnTo>
                        <a:pt x="52" y="61"/>
                      </a:lnTo>
                      <a:lnTo>
                        <a:pt x="61" y="44"/>
                      </a:lnTo>
                      <a:lnTo>
                        <a:pt x="79" y="53"/>
                      </a:lnTo>
                      <a:lnTo>
                        <a:pt x="79" y="70"/>
                      </a:lnTo>
                      <a:lnTo>
                        <a:pt x="96" y="61"/>
                      </a:lnTo>
                      <a:lnTo>
                        <a:pt x="96" y="53"/>
                      </a:lnTo>
                      <a:lnTo>
                        <a:pt x="131" y="61"/>
                      </a:lnTo>
                      <a:lnTo>
                        <a:pt x="122" y="44"/>
                      </a:lnTo>
                      <a:lnTo>
                        <a:pt x="113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6" name="Freeform 160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7" name="Freeform 161"/>
                <p:cNvSpPr>
                  <a:spLocks/>
                </p:cNvSpPr>
                <p:nvPr/>
              </p:nvSpPr>
              <p:spPr bwMode="auto">
                <a:xfrm>
                  <a:off x="4435947" y="1307594"/>
                  <a:ext cx="168192" cy="55685"/>
                </a:xfrm>
                <a:custGeom>
                  <a:avLst/>
                  <a:gdLst>
                    <a:gd name="T0" fmla="*/ 2147483647 w 157"/>
                    <a:gd name="T1" fmla="*/ 0 h 52"/>
                    <a:gd name="T2" fmla="*/ 2147483647 w 157"/>
                    <a:gd name="T3" fmla="*/ 0 h 52"/>
                    <a:gd name="T4" fmla="*/ 2147483647 w 157"/>
                    <a:gd name="T5" fmla="*/ 0 h 52"/>
                    <a:gd name="T6" fmla="*/ 2147483647 w 157"/>
                    <a:gd name="T7" fmla="*/ 0 h 52"/>
                    <a:gd name="T8" fmla="*/ 2147483647 w 157"/>
                    <a:gd name="T9" fmla="*/ 2147483647 h 52"/>
                    <a:gd name="T10" fmla="*/ 2147483647 w 157"/>
                    <a:gd name="T11" fmla="*/ 2147483647 h 52"/>
                    <a:gd name="T12" fmla="*/ 2147483647 w 157"/>
                    <a:gd name="T13" fmla="*/ 2147483647 h 52"/>
                    <a:gd name="T14" fmla="*/ 2147483647 w 157"/>
                    <a:gd name="T15" fmla="*/ 2147483647 h 52"/>
                    <a:gd name="T16" fmla="*/ 2147483647 w 157"/>
                    <a:gd name="T17" fmla="*/ 2147483647 h 52"/>
                    <a:gd name="T18" fmla="*/ 2147483647 w 157"/>
                    <a:gd name="T19" fmla="*/ 2147483647 h 52"/>
                    <a:gd name="T20" fmla="*/ 0 w 157"/>
                    <a:gd name="T21" fmla="*/ 2147483647 h 52"/>
                    <a:gd name="T22" fmla="*/ 2147483647 w 157"/>
                    <a:gd name="T23" fmla="*/ 2147483647 h 52"/>
                    <a:gd name="T24" fmla="*/ 2147483647 w 157"/>
                    <a:gd name="T25" fmla="*/ 2147483647 h 52"/>
                    <a:gd name="T26" fmla="*/ 2147483647 w 157"/>
                    <a:gd name="T27" fmla="*/ 2147483647 h 52"/>
                    <a:gd name="T28" fmla="*/ 2147483647 w 157"/>
                    <a:gd name="T29" fmla="*/ 2147483647 h 52"/>
                    <a:gd name="T30" fmla="*/ 2147483647 w 157"/>
                    <a:gd name="T31" fmla="*/ 2147483647 h 52"/>
                    <a:gd name="T32" fmla="*/ 2147483647 w 157"/>
                    <a:gd name="T33" fmla="*/ 2147483647 h 52"/>
                    <a:gd name="T34" fmla="*/ 2147483647 w 157"/>
                    <a:gd name="T35" fmla="*/ 2147483647 h 52"/>
                    <a:gd name="T36" fmla="*/ 2147483647 w 157"/>
                    <a:gd name="T37" fmla="*/ 2147483647 h 52"/>
                    <a:gd name="T38" fmla="*/ 2147483647 w 157"/>
                    <a:gd name="T39" fmla="*/ 2147483647 h 52"/>
                    <a:gd name="T40" fmla="*/ 2147483647 w 157"/>
                    <a:gd name="T41" fmla="*/ 2147483647 h 52"/>
                    <a:gd name="T42" fmla="*/ 2147483647 w 157"/>
                    <a:gd name="T43" fmla="*/ 2147483647 h 52"/>
                    <a:gd name="T44" fmla="*/ 2147483647 w 157"/>
                    <a:gd name="T45" fmla="*/ 2147483647 h 52"/>
                    <a:gd name="T46" fmla="*/ 2147483647 w 157"/>
                    <a:gd name="T47" fmla="*/ 0 h 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7"/>
                    <a:gd name="T73" fmla="*/ 0 h 52"/>
                    <a:gd name="T74" fmla="*/ 157 w 157"/>
                    <a:gd name="T75" fmla="*/ 52 h 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7" h="52">
                      <a:moveTo>
                        <a:pt x="157" y="0"/>
                      </a:moveTo>
                      <a:lnTo>
                        <a:pt x="131" y="0"/>
                      </a:lnTo>
                      <a:lnTo>
                        <a:pt x="114" y="0"/>
                      </a:lnTo>
                      <a:lnTo>
                        <a:pt x="96" y="0"/>
                      </a:lnTo>
                      <a:lnTo>
                        <a:pt x="79" y="8"/>
                      </a:lnTo>
                      <a:lnTo>
                        <a:pt x="53" y="8"/>
                      </a:lnTo>
                      <a:lnTo>
                        <a:pt x="53" y="17"/>
                      </a:lnTo>
                      <a:lnTo>
                        <a:pt x="35" y="8"/>
                      </a:lnTo>
                      <a:lnTo>
                        <a:pt x="27" y="17"/>
                      </a:lnTo>
                      <a:lnTo>
                        <a:pt x="18" y="8"/>
                      </a:lnTo>
                      <a:lnTo>
                        <a:pt x="0" y="17"/>
                      </a:lnTo>
                      <a:lnTo>
                        <a:pt x="27" y="26"/>
                      </a:lnTo>
                      <a:lnTo>
                        <a:pt x="44" y="43"/>
                      </a:lnTo>
                      <a:lnTo>
                        <a:pt x="61" y="52"/>
                      </a:lnTo>
                      <a:lnTo>
                        <a:pt x="96" y="26"/>
                      </a:lnTo>
                      <a:lnTo>
                        <a:pt x="114" y="26"/>
                      </a:lnTo>
                      <a:lnTo>
                        <a:pt x="123" y="43"/>
                      </a:lnTo>
                      <a:lnTo>
                        <a:pt x="140" y="43"/>
                      </a:lnTo>
                      <a:lnTo>
                        <a:pt x="149" y="43"/>
                      </a:lnTo>
                      <a:lnTo>
                        <a:pt x="131" y="26"/>
                      </a:lnTo>
                      <a:lnTo>
                        <a:pt x="131" y="17"/>
                      </a:lnTo>
                      <a:lnTo>
                        <a:pt x="140" y="17"/>
                      </a:lnTo>
                      <a:lnTo>
                        <a:pt x="157" y="26"/>
                      </a:lnTo>
                      <a:lnTo>
                        <a:pt x="15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8" name="Freeform 162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69" name="Freeform 163"/>
                <p:cNvSpPr>
                  <a:spLocks/>
                </p:cNvSpPr>
                <p:nvPr/>
              </p:nvSpPr>
              <p:spPr bwMode="auto">
                <a:xfrm>
                  <a:off x="4370599" y="1446807"/>
                  <a:ext cx="346026" cy="223811"/>
                </a:xfrm>
                <a:custGeom>
                  <a:avLst/>
                  <a:gdLst>
                    <a:gd name="T0" fmla="*/ 2147483647 w 323"/>
                    <a:gd name="T1" fmla="*/ 0 h 209"/>
                    <a:gd name="T2" fmla="*/ 2147483647 w 323"/>
                    <a:gd name="T3" fmla="*/ 0 h 209"/>
                    <a:gd name="T4" fmla="*/ 2147483647 w 323"/>
                    <a:gd name="T5" fmla="*/ 2147483647 h 209"/>
                    <a:gd name="T6" fmla="*/ 2147483647 w 323"/>
                    <a:gd name="T7" fmla="*/ 2147483647 h 209"/>
                    <a:gd name="T8" fmla="*/ 2147483647 w 323"/>
                    <a:gd name="T9" fmla="*/ 2147483647 h 209"/>
                    <a:gd name="T10" fmla="*/ 2147483647 w 323"/>
                    <a:gd name="T11" fmla="*/ 2147483647 h 209"/>
                    <a:gd name="T12" fmla="*/ 2147483647 w 323"/>
                    <a:gd name="T13" fmla="*/ 2147483647 h 209"/>
                    <a:gd name="T14" fmla="*/ 2147483647 w 323"/>
                    <a:gd name="T15" fmla="*/ 2147483647 h 209"/>
                    <a:gd name="T16" fmla="*/ 2147483647 w 323"/>
                    <a:gd name="T17" fmla="*/ 2147483647 h 209"/>
                    <a:gd name="T18" fmla="*/ 2147483647 w 323"/>
                    <a:gd name="T19" fmla="*/ 2147483647 h 209"/>
                    <a:gd name="T20" fmla="*/ 2147483647 w 323"/>
                    <a:gd name="T21" fmla="*/ 2147483647 h 209"/>
                    <a:gd name="T22" fmla="*/ 2147483647 w 323"/>
                    <a:gd name="T23" fmla="*/ 2147483647 h 209"/>
                    <a:gd name="T24" fmla="*/ 2147483647 w 323"/>
                    <a:gd name="T25" fmla="*/ 2147483647 h 209"/>
                    <a:gd name="T26" fmla="*/ 2147483647 w 323"/>
                    <a:gd name="T27" fmla="*/ 2147483647 h 209"/>
                    <a:gd name="T28" fmla="*/ 2147483647 w 323"/>
                    <a:gd name="T29" fmla="*/ 2147483647 h 209"/>
                    <a:gd name="T30" fmla="*/ 2147483647 w 323"/>
                    <a:gd name="T31" fmla="*/ 2147483647 h 209"/>
                    <a:gd name="T32" fmla="*/ 2147483647 w 323"/>
                    <a:gd name="T33" fmla="*/ 2147483647 h 209"/>
                    <a:gd name="T34" fmla="*/ 2147483647 w 323"/>
                    <a:gd name="T35" fmla="*/ 2147483647 h 209"/>
                    <a:gd name="T36" fmla="*/ 2147483647 w 323"/>
                    <a:gd name="T37" fmla="*/ 2147483647 h 209"/>
                    <a:gd name="T38" fmla="*/ 2147483647 w 323"/>
                    <a:gd name="T39" fmla="*/ 2147483647 h 209"/>
                    <a:gd name="T40" fmla="*/ 2147483647 w 323"/>
                    <a:gd name="T41" fmla="*/ 2147483647 h 209"/>
                    <a:gd name="T42" fmla="*/ 2147483647 w 323"/>
                    <a:gd name="T43" fmla="*/ 2147483647 h 209"/>
                    <a:gd name="T44" fmla="*/ 2147483647 w 323"/>
                    <a:gd name="T45" fmla="*/ 2147483647 h 209"/>
                    <a:gd name="T46" fmla="*/ 2147483647 w 323"/>
                    <a:gd name="T47" fmla="*/ 2147483647 h 209"/>
                    <a:gd name="T48" fmla="*/ 2147483647 w 323"/>
                    <a:gd name="T49" fmla="*/ 2147483647 h 209"/>
                    <a:gd name="T50" fmla="*/ 2147483647 w 323"/>
                    <a:gd name="T51" fmla="*/ 2147483647 h 209"/>
                    <a:gd name="T52" fmla="*/ 2147483647 w 323"/>
                    <a:gd name="T53" fmla="*/ 2147483647 h 209"/>
                    <a:gd name="T54" fmla="*/ 2147483647 w 323"/>
                    <a:gd name="T55" fmla="*/ 2147483647 h 209"/>
                    <a:gd name="T56" fmla="*/ 0 w 323"/>
                    <a:gd name="T57" fmla="*/ 2147483647 h 209"/>
                    <a:gd name="T58" fmla="*/ 2147483647 w 323"/>
                    <a:gd name="T59" fmla="*/ 2147483647 h 209"/>
                    <a:gd name="T60" fmla="*/ 2147483647 w 323"/>
                    <a:gd name="T61" fmla="*/ 2147483647 h 209"/>
                    <a:gd name="T62" fmla="*/ 2147483647 w 323"/>
                    <a:gd name="T63" fmla="*/ 2147483647 h 209"/>
                    <a:gd name="T64" fmla="*/ 2147483647 w 323"/>
                    <a:gd name="T65" fmla="*/ 2147483647 h 209"/>
                    <a:gd name="T66" fmla="*/ 2147483647 w 323"/>
                    <a:gd name="T67" fmla="*/ 2147483647 h 209"/>
                    <a:gd name="T68" fmla="*/ 2147483647 w 323"/>
                    <a:gd name="T69" fmla="*/ 2147483647 h 209"/>
                    <a:gd name="T70" fmla="*/ 2147483647 w 323"/>
                    <a:gd name="T71" fmla="*/ 2147483647 h 209"/>
                    <a:gd name="T72" fmla="*/ 2147483647 w 323"/>
                    <a:gd name="T73" fmla="*/ 2147483647 h 209"/>
                    <a:gd name="T74" fmla="*/ 2147483647 w 323"/>
                    <a:gd name="T75" fmla="*/ 2147483647 h 209"/>
                    <a:gd name="T76" fmla="*/ 2147483647 w 323"/>
                    <a:gd name="T77" fmla="*/ 2147483647 h 209"/>
                    <a:gd name="T78" fmla="*/ 2147483647 w 323"/>
                    <a:gd name="T79" fmla="*/ 2147483647 h 209"/>
                    <a:gd name="T80" fmla="*/ 2147483647 w 323"/>
                    <a:gd name="T81" fmla="*/ 2147483647 h 209"/>
                    <a:gd name="T82" fmla="*/ 2147483647 w 323"/>
                    <a:gd name="T83" fmla="*/ 2147483647 h 209"/>
                    <a:gd name="T84" fmla="*/ 2147483647 w 323"/>
                    <a:gd name="T85" fmla="*/ 2147483647 h 209"/>
                    <a:gd name="T86" fmla="*/ 2147483647 w 323"/>
                    <a:gd name="T87" fmla="*/ 2147483647 h 209"/>
                    <a:gd name="T88" fmla="*/ 2147483647 w 323"/>
                    <a:gd name="T89" fmla="*/ 2147483647 h 209"/>
                    <a:gd name="T90" fmla="*/ 2147483647 w 323"/>
                    <a:gd name="T91" fmla="*/ 2147483647 h 209"/>
                    <a:gd name="T92" fmla="*/ 2147483647 w 323"/>
                    <a:gd name="T93" fmla="*/ 2147483647 h 209"/>
                    <a:gd name="T94" fmla="*/ 2147483647 w 323"/>
                    <a:gd name="T95" fmla="*/ 2147483647 h 209"/>
                    <a:gd name="T96" fmla="*/ 2147483647 w 323"/>
                    <a:gd name="T97" fmla="*/ 2147483647 h 209"/>
                    <a:gd name="T98" fmla="*/ 2147483647 w 323"/>
                    <a:gd name="T99" fmla="*/ 2147483647 h 209"/>
                    <a:gd name="T100" fmla="*/ 2147483647 w 323"/>
                    <a:gd name="T101" fmla="*/ 2147483647 h 209"/>
                    <a:gd name="T102" fmla="*/ 2147483647 w 323"/>
                    <a:gd name="T103" fmla="*/ 2147483647 h 209"/>
                    <a:gd name="T104" fmla="*/ 2147483647 w 323"/>
                    <a:gd name="T105" fmla="*/ 2147483647 h 209"/>
                    <a:gd name="T106" fmla="*/ 2147483647 w 323"/>
                    <a:gd name="T107" fmla="*/ 2147483647 h 209"/>
                    <a:gd name="T108" fmla="*/ 2147483647 w 323"/>
                    <a:gd name="T109" fmla="*/ 2147483647 h 209"/>
                    <a:gd name="T110" fmla="*/ 2147483647 w 323"/>
                    <a:gd name="T111" fmla="*/ 2147483647 h 209"/>
                    <a:gd name="T112" fmla="*/ 2147483647 w 323"/>
                    <a:gd name="T113" fmla="*/ 2147483647 h 209"/>
                    <a:gd name="T114" fmla="*/ 2147483647 w 323"/>
                    <a:gd name="T115" fmla="*/ 2147483647 h 209"/>
                    <a:gd name="T116" fmla="*/ 2147483647 w 323"/>
                    <a:gd name="T117" fmla="*/ 2147483647 h 209"/>
                    <a:gd name="T118" fmla="*/ 2147483647 w 323"/>
                    <a:gd name="T119" fmla="*/ 2147483647 h 209"/>
                    <a:gd name="T120" fmla="*/ 2147483647 w 323"/>
                    <a:gd name="T121" fmla="*/ 2147483647 h 209"/>
                    <a:gd name="T122" fmla="*/ 2147483647 w 323"/>
                    <a:gd name="T123" fmla="*/ 0 h 20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23"/>
                    <a:gd name="T187" fmla="*/ 0 h 209"/>
                    <a:gd name="T188" fmla="*/ 323 w 323"/>
                    <a:gd name="T189" fmla="*/ 209 h 20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23" h="209">
                      <a:moveTo>
                        <a:pt x="253" y="0"/>
                      </a:moveTo>
                      <a:lnTo>
                        <a:pt x="236" y="0"/>
                      </a:lnTo>
                      <a:lnTo>
                        <a:pt x="245" y="9"/>
                      </a:lnTo>
                      <a:lnTo>
                        <a:pt x="227" y="18"/>
                      </a:lnTo>
                      <a:lnTo>
                        <a:pt x="218" y="9"/>
                      </a:lnTo>
                      <a:lnTo>
                        <a:pt x="201" y="9"/>
                      </a:lnTo>
                      <a:lnTo>
                        <a:pt x="201" y="18"/>
                      </a:lnTo>
                      <a:lnTo>
                        <a:pt x="192" y="18"/>
                      </a:lnTo>
                      <a:lnTo>
                        <a:pt x="184" y="18"/>
                      </a:lnTo>
                      <a:lnTo>
                        <a:pt x="149" y="35"/>
                      </a:lnTo>
                      <a:lnTo>
                        <a:pt x="140" y="44"/>
                      </a:lnTo>
                      <a:lnTo>
                        <a:pt x="131" y="26"/>
                      </a:lnTo>
                      <a:lnTo>
                        <a:pt x="114" y="44"/>
                      </a:lnTo>
                      <a:lnTo>
                        <a:pt x="122" y="44"/>
                      </a:lnTo>
                      <a:lnTo>
                        <a:pt x="131" y="61"/>
                      </a:lnTo>
                      <a:lnTo>
                        <a:pt x="114" y="61"/>
                      </a:lnTo>
                      <a:lnTo>
                        <a:pt x="114" y="79"/>
                      </a:lnTo>
                      <a:lnTo>
                        <a:pt x="96" y="96"/>
                      </a:lnTo>
                      <a:lnTo>
                        <a:pt x="96" y="105"/>
                      </a:lnTo>
                      <a:lnTo>
                        <a:pt x="88" y="105"/>
                      </a:lnTo>
                      <a:lnTo>
                        <a:pt x="70" y="114"/>
                      </a:lnTo>
                      <a:lnTo>
                        <a:pt x="61" y="114"/>
                      </a:lnTo>
                      <a:lnTo>
                        <a:pt x="61" y="131"/>
                      </a:lnTo>
                      <a:lnTo>
                        <a:pt x="44" y="131"/>
                      </a:lnTo>
                      <a:lnTo>
                        <a:pt x="35" y="140"/>
                      </a:lnTo>
                      <a:lnTo>
                        <a:pt x="18" y="140"/>
                      </a:lnTo>
                      <a:lnTo>
                        <a:pt x="0" y="157"/>
                      </a:lnTo>
                      <a:lnTo>
                        <a:pt x="27" y="157"/>
                      </a:lnTo>
                      <a:lnTo>
                        <a:pt x="9" y="166"/>
                      </a:lnTo>
                      <a:lnTo>
                        <a:pt x="27" y="175"/>
                      </a:lnTo>
                      <a:lnTo>
                        <a:pt x="18" y="183"/>
                      </a:lnTo>
                      <a:lnTo>
                        <a:pt x="35" y="192"/>
                      </a:lnTo>
                      <a:lnTo>
                        <a:pt x="27" y="201"/>
                      </a:lnTo>
                      <a:lnTo>
                        <a:pt x="61" y="209"/>
                      </a:lnTo>
                      <a:lnTo>
                        <a:pt x="88" y="183"/>
                      </a:lnTo>
                      <a:lnTo>
                        <a:pt x="105" y="201"/>
                      </a:lnTo>
                      <a:lnTo>
                        <a:pt x="114" y="183"/>
                      </a:lnTo>
                      <a:lnTo>
                        <a:pt x="122" y="157"/>
                      </a:lnTo>
                      <a:lnTo>
                        <a:pt x="114" y="140"/>
                      </a:lnTo>
                      <a:lnTo>
                        <a:pt x="122" y="114"/>
                      </a:lnTo>
                      <a:lnTo>
                        <a:pt x="140" y="114"/>
                      </a:lnTo>
                      <a:lnTo>
                        <a:pt x="140" y="87"/>
                      </a:lnTo>
                      <a:lnTo>
                        <a:pt x="175" y="44"/>
                      </a:lnTo>
                      <a:lnTo>
                        <a:pt x="218" y="35"/>
                      </a:lnTo>
                      <a:lnTo>
                        <a:pt x="236" y="44"/>
                      </a:lnTo>
                      <a:lnTo>
                        <a:pt x="271" y="35"/>
                      </a:lnTo>
                      <a:lnTo>
                        <a:pt x="271" y="18"/>
                      </a:lnTo>
                      <a:lnTo>
                        <a:pt x="288" y="18"/>
                      </a:lnTo>
                      <a:lnTo>
                        <a:pt x="314" y="35"/>
                      </a:lnTo>
                      <a:lnTo>
                        <a:pt x="323" y="18"/>
                      </a:lnTo>
                      <a:lnTo>
                        <a:pt x="297" y="9"/>
                      </a:lnTo>
                      <a:lnTo>
                        <a:pt x="271" y="9"/>
                      </a:lnTo>
                      <a:lnTo>
                        <a:pt x="262" y="9"/>
                      </a:lnTo>
                      <a:lnTo>
                        <a:pt x="253" y="9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0" name="Freeform 164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1" name="Freeform 165"/>
                <p:cNvSpPr>
                  <a:spLocks/>
                </p:cNvSpPr>
                <p:nvPr/>
              </p:nvSpPr>
              <p:spPr bwMode="auto">
                <a:xfrm>
                  <a:off x="6594591" y="1418964"/>
                  <a:ext cx="46066" cy="27842"/>
                </a:xfrm>
                <a:custGeom>
                  <a:avLst/>
                  <a:gdLst>
                    <a:gd name="T0" fmla="*/ 2147483647 w 43"/>
                    <a:gd name="T1" fmla="*/ 0 h 26"/>
                    <a:gd name="T2" fmla="*/ 2147483647 w 43"/>
                    <a:gd name="T3" fmla="*/ 2147483647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2147483647 w 43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26"/>
                    <a:gd name="T20" fmla="*/ 43 w 4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26">
                      <a:moveTo>
                        <a:pt x="26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2" name="Freeform 166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3" name="Freeform 167"/>
                <p:cNvSpPr>
                  <a:spLocks/>
                </p:cNvSpPr>
                <p:nvPr/>
              </p:nvSpPr>
              <p:spPr bwMode="auto">
                <a:xfrm>
                  <a:off x="4698413" y="1335437"/>
                  <a:ext cx="2213279" cy="653228"/>
                </a:xfrm>
                <a:custGeom>
                  <a:avLst/>
                  <a:gdLst>
                    <a:gd name="T0" fmla="*/ 2147483647 w 2066"/>
                    <a:gd name="T1" fmla="*/ 2147483647 h 610"/>
                    <a:gd name="T2" fmla="*/ 2147483647 w 2066"/>
                    <a:gd name="T3" fmla="*/ 2147483647 h 610"/>
                    <a:gd name="T4" fmla="*/ 2147483647 w 2066"/>
                    <a:gd name="T5" fmla="*/ 2147483647 h 610"/>
                    <a:gd name="T6" fmla="*/ 2147483647 w 2066"/>
                    <a:gd name="T7" fmla="*/ 2147483647 h 610"/>
                    <a:gd name="T8" fmla="*/ 2147483647 w 2066"/>
                    <a:gd name="T9" fmla="*/ 2147483647 h 610"/>
                    <a:gd name="T10" fmla="*/ 2147483647 w 2066"/>
                    <a:gd name="T11" fmla="*/ 2147483647 h 610"/>
                    <a:gd name="T12" fmla="*/ 2147483647 w 2066"/>
                    <a:gd name="T13" fmla="*/ 2147483647 h 610"/>
                    <a:gd name="T14" fmla="*/ 2147483647 w 2066"/>
                    <a:gd name="T15" fmla="*/ 2147483647 h 610"/>
                    <a:gd name="T16" fmla="*/ 2147483647 w 2066"/>
                    <a:gd name="T17" fmla="*/ 2147483647 h 610"/>
                    <a:gd name="T18" fmla="*/ 2147483647 w 2066"/>
                    <a:gd name="T19" fmla="*/ 0 h 610"/>
                    <a:gd name="T20" fmla="*/ 2147483647 w 2066"/>
                    <a:gd name="T21" fmla="*/ 2147483647 h 610"/>
                    <a:gd name="T22" fmla="*/ 2147483647 w 2066"/>
                    <a:gd name="T23" fmla="*/ 2147483647 h 610"/>
                    <a:gd name="T24" fmla="*/ 2147483647 w 2066"/>
                    <a:gd name="T25" fmla="*/ 2147483647 h 610"/>
                    <a:gd name="T26" fmla="*/ 2147483647 w 2066"/>
                    <a:gd name="T27" fmla="*/ 2147483647 h 610"/>
                    <a:gd name="T28" fmla="*/ 2147483647 w 2066"/>
                    <a:gd name="T29" fmla="*/ 2147483647 h 610"/>
                    <a:gd name="T30" fmla="*/ 2147483647 w 2066"/>
                    <a:gd name="T31" fmla="*/ 2147483647 h 610"/>
                    <a:gd name="T32" fmla="*/ 2147483647 w 2066"/>
                    <a:gd name="T33" fmla="*/ 2147483647 h 610"/>
                    <a:gd name="T34" fmla="*/ 2147483647 w 2066"/>
                    <a:gd name="T35" fmla="*/ 2147483647 h 610"/>
                    <a:gd name="T36" fmla="*/ 2147483647 w 2066"/>
                    <a:gd name="T37" fmla="*/ 2147483647 h 610"/>
                    <a:gd name="T38" fmla="*/ 2147483647 w 2066"/>
                    <a:gd name="T39" fmla="*/ 2147483647 h 610"/>
                    <a:gd name="T40" fmla="*/ 2147483647 w 2066"/>
                    <a:gd name="T41" fmla="*/ 2147483647 h 610"/>
                    <a:gd name="T42" fmla="*/ 2147483647 w 2066"/>
                    <a:gd name="T43" fmla="*/ 2147483647 h 610"/>
                    <a:gd name="T44" fmla="*/ 2147483647 w 2066"/>
                    <a:gd name="T45" fmla="*/ 2147483647 h 610"/>
                    <a:gd name="T46" fmla="*/ 2147483647 w 2066"/>
                    <a:gd name="T47" fmla="*/ 2147483647 h 610"/>
                    <a:gd name="T48" fmla="*/ 2147483647 w 2066"/>
                    <a:gd name="T49" fmla="*/ 2147483647 h 610"/>
                    <a:gd name="T50" fmla="*/ 2147483647 w 2066"/>
                    <a:gd name="T51" fmla="*/ 2147483647 h 610"/>
                    <a:gd name="T52" fmla="*/ 0 w 2066"/>
                    <a:gd name="T53" fmla="*/ 2147483647 h 610"/>
                    <a:gd name="T54" fmla="*/ 2147483647 w 2066"/>
                    <a:gd name="T55" fmla="*/ 2147483647 h 610"/>
                    <a:gd name="T56" fmla="*/ 2147483647 w 2066"/>
                    <a:gd name="T57" fmla="*/ 2147483647 h 610"/>
                    <a:gd name="T58" fmla="*/ 2147483647 w 2066"/>
                    <a:gd name="T59" fmla="*/ 2147483647 h 610"/>
                    <a:gd name="T60" fmla="*/ 2147483647 w 2066"/>
                    <a:gd name="T61" fmla="*/ 2147483647 h 610"/>
                    <a:gd name="T62" fmla="*/ 2147483647 w 2066"/>
                    <a:gd name="T63" fmla="*/ 2147483647 h 610"/>
                    <a:gd name="T64" fmla="*/ 2147483647 w 2066"/>
                    <a:gd name="T65" fmla="*/ 2147483647 h 610"/>
                    <a:gd name="T66" fmla="*/ 2147483647 w 2066"/>
                    <a:gd name="T67" fmla="*/ 2147483647 h 610"/>
                    <a:gd name="T68" fmla="*/ 2147483647 w 2066"/>
                    <a:gd name="T69" fmla="*/ 2147483647 h 610"/>
                    <a:gd name="T70" fmla="*/ 2147483647 w 2066"/>
                    <a:gd name="T71" fmla="*/ 2147483647 h 610"/>
                    <a:gd name="T72" fmla="*/ 2147483647 w 2066"/>
                    <a:gd name="T73" fmla="*/ 2147483647 h 610"/>
                    <a:gd name="T74" fmla="*/ 2147483647 w 2066"/>
                    <a:gd name="T75" fmla="*/ 2147483647 h 610"/>
                    <a:gd name="T76" fmla="*/ 2147483647 w 2066"/>
                    <a:gd name="T77" fmla="*/ 2147483647 h 610"/>
                    <a:gd name="T78" fmla="*/ 2147483647 w 2066"/>
                    <a:gd name="T79" fmla="*/ 2147483647 h 610"/>
                    <a:gd name="T80" fmla="*/ 2147483647 w 2066"/>
                    <a:gd name="T81" fmla="*/ 2147483647 h 610"/>
                    <a:gd name="T82" fmla="*/ 2147483647 w 2066"/>
                    <a:gd name="T83" fmla="*/ 2147483647 h 610"/>
                    <a:gd name="T84" fmla="*/ 2147483647 w 2066"/>
                    <a:gd name="T85" fmla="*/ 2147483647 h 610"/>
                    <a:gd name="T86" fmla="*/ 2147483647 w 2066"/>
                    <a:gd name="T87" fmla="*/ 2147483647 h 610"/>
                    <a:gd name="T88" fmla="*/ 2147483647 w 2066"/>
                    <a:gd name="T89" fmla="*/ 2147483647 h 610"/>
                    <a:gd name="T90" fmla="*/ 2147483647 w 2066"/>
                    <a:gd name="T91" fmla="*/ 2147483647 h 610"/>
                    <a:gd name="T92" fmla="*/ 2147483647 w 2066"/>
                    <a:gd name="T93" fmla="*/ 2147483647 h 610"/>
                    <a:gd name="T94" fmla="*/ 2147483647 w 2066"/>
                    <a:gd name="T95" fmla="*/ 2147483647 h 610"/>
                    <a:gd name="T96" fmla="*/ 2147483647 w 2066"/>
                    <a:gd name="T97" fmla="*/ 2147483647 h 610"/>
                    <a:gd name="T98" fmla="*/ 2147483647 w 2066"/>
                    <a:gd name="T99" fmla="*/ 2147483647 h 610"/>
                    <a:gd name="T100" fmla="*/ 2147483647 w 2066"/>
                    <a:gd name="T101" fmla="*/ 2147483647 h 610"/>
                    <a:gd name="T102" fmla="*/ 2147483647 w 2066"/>
                    <a:gd name="T103" fmla="*/ 2147483647 h 610"/>
                    <a:gd name="T104" fmla="*/ 2147483647 w 2066"/>
                    <a:gd name="T105" fmla="*/ 2147483647 h 610"/>
                    <a:gd name="T106" fmla="*/ 2147483647 w 2066"/>
                    <a:gd name="T107" fmla="*/ 2147483647 h 610"/>
                    <a:gd name="T108" fmla="*/ 2147483647 w 2066"/>
                    <a:gd name="T109" fmla="*/ 2147483647 h 610"/>
                    <a:gd name="T110" fmla="*/ 2147483647 w 2066"/>
                    <a:gd name="T111" fmla="*/ 2147483647 h 610"/>
                    <a:gd name="T112" fmla="*/ 2147483647 w 2066"/>
                    <a:gd name="T113" fmla="*/ 2147483647 h 61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66"/>
                    <a:gd name="T172" fmla="*/ 0 h 610"/>
                    <a:gd name="T173" fmla="*/ 2066 w 2066"/>
                    <a:gd name="T174" fmla="*/ 610 h 61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66" h="610">
                      <a:moveTo>
                        <a:pt x="1988" y="148"/>
                      </a:moveTo>
                      <a:lnTo>
                        <a:pt x="1970" y="157"/>
                      </a:lnTo>
                      <a:lnTo>
                        <a:pt x="1988" y="165"/>
                      </a:lnTo>
                      <a:lnTo>
                        <a:pt x="1935" y="148"/>
                      </a:lnTo>
                      <a:lnTo>
                        <a:pt x="1813" y="122"/>
                      </a:lnTo>
                      <a:lnTo>
                        <a:pt x="1796" y="122"/>
                      </a:lnTo>
                      <a:lnTo>
                        <a:pt x="1787" y="113"/>
                      </a:lnTo>
                      <a:lnTo>
                        <a:pt x="1752" y="122"/>
                      </a:lnTo>
                      <a:lnTo>
                        <a:pt x="1717" y="113"/>
                      </a:lnTo>
                      <a:lnTo>
                        <a:pt x="1700" y="113"/>
                      </a:lnTo>
                      <a:lnTo>
                        <a:pt x="1726" y="139"/>
                      </a:lnTo>
                      <a:lnTo>
                        <a:pt x="1691" y="122"/>
                      </a:lnTo>
                      <a:lnTo>
                        <a:pt x="1682" y="113"/>
                      </a:lnTo>
                      <a:lnTo>
                        <a:pt x="1613" y="122"/>
                      </a:lnTo>
                      <a:lnTo>
                        <a:pt x="1630" y="139"/>
                      </a:lnTo>
                      <a:lnTo>
                        <a:pt x="1569" y="122"/>
                      </a:lnTo>
                      <a:lnTo>
                        <a:pt x="1560" y="96"/>
                      </a:lnTo>
                      <a:lnTo>
                        <a:pt x="1491" y="96"/>
                      </a:lnTo>
                      <a:lnTo>
                        <a:pt x="1482" y="104"/>
                      </a:lnTo>
                      <a:lnTo>
                        <a:pt x="1456" y="104"/>
                      </a:lnTo>
                      <a:lnTo>
                        <a:pt x="1447" y="96"/>
                      </a:lnTo>
                      <a:lnTo>
                        <a:pt x="1412" y="96"/>
                      </a:lnTo>
                      <a:lnTo>
                        <a:pt x="1412" y="78"/>
                      </a:lnTo>
                      <a:lnTo>
                        <a:pt x="1386" y="78"/>
                      </a:lnTo>
                      <a:lnTo>
                        <a:pt x="1369" y="96"/>
                      </a:lnTo>
                      <a:lnTo>
                        <a:pt x="1360" y="78"/>
                      </a:lnTo>
                      <a:lnTo>
                        <a:pt x="1281" y="78"/>
                      </a:lnTo>
                      <a:lnTo>
                        <a:pt x="1299" y="96"/>
                      </a:lnTo>
                      <a:lnTo>
                        <a:pt x="1220" y="87"/>
                      </a:lnTo>
                      <a:lnTo>
                        <a:pt x="1212" y="104"/>
                      </a:lnTo>
                      <a:lnTo>
                        <a:pt x="1168" y="87"/>
                      </a:lnTo>
                      <a:lnTo>
                        <a:pt x="1159" y="96"/>
                      </a:lnTo>
                      <a:lnTo>
                        <a:pt x="1142" y="87"/>
                      </a:lnTo>
                      <a:lnTo>
                        <a:pt x="1159" y="78"/>
                      </a:lnTo>
                      <a:lnTo>
                        <a:pt x="1142" y="69"/>
                      </a:lnTo>
                      <a:lnTo>
                        <a:pt x="1133" y="78"/>
                      </a:lnTo>
                      <a:lnTo>
                        <a:pt x="1133" y="69"/>
                      </a:lnTo>
                      <a:lnTo>
                        <a:pt x="1116" y="61"/>
                      </a:lnTo>
                      <a:lnTo>
                        <a:pt x="1116" y="69"/>
                      </a:lnTo>
                      <a:lnTo>
                        <a:pt x="1098" y="61"/>
                      </a:lnTo>
                      <a:lnTo>
                        <a:pt x="1063" y="61"/>
                      </a:lnTo>
                      <a:lnTo>
                        <a:pt x="1072" y="69"/>
                      </a:lnTo>
                      <a:lnTo>
                        <a:pt x="1098" y="78"/>
                      </a:lnTo>
                      <a:lnTo>
                        <a:pt x="1072" y="69"/>
                      </a:lnTo>
                      <a:lnTo>
                        <a:pt x="1037" y="69"/>
                      </a:lnTo>
                      <a:lnTo>
                        <a:pt x="1011" y="61"/>
                      </a:lnTo>
                      <a:lnTo>
                        <a:pt x="967" y="61"/>
                      </a:lnTo>
                      <a:lnTo>
                        <a:pt x="976" y="78"/>
                      </a:lnTo>
                      <a:lnTo>
                        <a:pt x="941" y="61"/>
                      </a:lnTo>
                      <a:lnTo>
                        <a:pt x="941" y="43"/>
                      </a:lnTo>
                      <a:lnTo>
                        <a:pt x="924" y="43"/>
                      </a:lnTo>
                      <a:lnTo>
                        <a:pt x="924" y="61"/>
                      </a:lnTo>
                      <a:lnTo>
                        <a:pt x="872" y="69"/>
                      </a:lnTo>
                      <a:lnTo>
                        <a:pt x="889" y="61"/>
                      </a:lnTo>
                      <a:lnTo>
                        <a:pt x="915" y="43"/>
                      </a:lnTo>
                      <a:lnTo>
                        <a:pt x="915" y="35"/>
                      </a:lnTo>
                      <a:lnTo>
                        <a:pt x="845" y="17"/>
                      </a:lnTo>
                      <a:lnTo>
                        <a:pt x="828" y="26"/>
                      </a:lnTo>
                      <a:lnTo>
                        <a:pt x="793" y="17"/>
                      </a:lnTo>
                      <a:lnTo>
                        <a:pt x="802" y="0"/>
                      </a:lnTo>
                      <a:lnTo>
                        <a:pt x="784" y="0"/>
                      </a:lnTo>
                      <a:lnTo>
                        <a:pt x="758" y="17"/>
                      </a:lnTo>
                      <a:lnTo>
                        <a:pt x="758" y="26"/>
                      </a:lnTo>
                      <a:lnTo>
                        <a:pt x="749" y="26"/>
                      </a:lnTo>
                      <a:lnTo>
                        <a:pt x="758" y="43"/>
                      </a:lnTo>
                      <a:lnTo>
                        <a:pt x="741" y="26"/>
                      </a:lnTo>
                      <a:lnTo>
                        <a:pt x="715" y="26"/>
                      </a:lnTo>
                      <a:lnTo>
                        <a:pt x="619" y="43"/>
                      </a:lnTo>
                      <a:lnTo>
                        <a:pt x="636" y="61"/>
                      </a:lnTo>
                      <a:lnTo>
                        <a:pt x="645" y="78"/>
                      </a:lnTo>
                      <a:lnTo>
                        <a:pt x="627" y="61"/>
                      </a:lnTo>
                      <a:lnTo>
                        <a:pt x="610" y="61"/>
                      </a:lnTo>
                      <a:lnTo>
                        <a:pt x="601" y="61"/>
                      </a:lnTo>
                      <a:lnTo>
                        <a:pt x="575" y="61"/>
                      </a:lnTo>
                      <a:lnTo>
                        <a:pt x="584" y="78"/>
                      </a:lnTo>
                      <a:lnTo>
                        <a:pt x="645" y="96"/>
                      </a:lnTo>
                      <a:lnTo>
                        <a:pt x="645" y="122"/>
                      </a:lnTo>
                      <a:lnTo>
                        <a:pt x="636" y="122"/>
                      </a:lnTo>
                      <a:lnTo>
                        <a:pt x="627" y="104"/>
                      </a:lnTo>
                      <a:lnTo>
                        <a:pt x="575" y="87"/>
                      </a:lnTo>
                      <a:lnTo>
                        <a:pt x="566" y="69"/>
                      </a:lnTo>
                      <a:lnTo>
                        <a:pt x="549" y="78"/>
                      </a:lnTo>
                      <a:lnTo>
                        <a:pt x="549" y="96"/>
                      </a:lnTo>
                      <a:lnTo>
                        <a:pt x="575" y="104"/>
                      </a:lnTo>
                      <a:lnTo>
                        <a:pt x="566" y="113"/>
                      </a:lnTo>
                      <a:lnTo>
                        <a:pt x="540" y="96"/>
                      </a:lnTo>
                      <a:lnTo>
                        <a:pt x="523" y="78"/>
                      </a:lnTo>
                      <a:lnTo>
                        <a:pt x="540" y="69"/>
                      </a:lnTo>
                      <a:lnTo>
                        <a:pt x="514" y="69"/>
                      </a:lnTo>
                      <a:lnTo>
                        <a:pt x="514" y="96"/>
                      </a:lnTo>
                      <a:lnTo>
                        <a:pt x="531" y="104"/>
                      </a:lnTo>
                      <a:lnTo>
                        <a:pt x="540" y="122"/>
                      </a:lnTo>
                      <a:lnTo>
                        <a:pt x="549" y="130"/>
                      </a:lnTo>
                      <a:lnTo>
                        <a:pt x="566" y="122"/>
                      </a:lnTo>
                      <a:lnTo>
                        <a:pt x="601" y="139"/>
                      </a:lnTo>
                      <a:lnTo>
                        <a:pt x="610" y="148"/>
                      </a:lnTo>
                      <a:lnTo>
                        <a:pt x="619" y="157"/>
                      </a:lnTo>
                      <a:lnTo>
                        <a:pt x="610" y="165"/>
                      </a:lnTo>
                      <a:lnTo>
                        <a:pt x="592" y="139"/>
                      </a:lnTo>
                      <a:lnTo>
                        <a:pt x="566" y="139"/>
                      </a:lnTo>
                      <a:lnTo>
                        <a:pt x="558" y="139"/>
                      </a:lnTo>
                      <a:lnTo>
                        <a:pt x="566" y="157"/>
                      </a:lnTo>
                      <a:lnTo>
                        <a:pt x="558" y="174"/>
                      </a:lnTo>
                      <a:lnTo>
                        <a:pt x="514" y="183"/>
                      </a:lnTo>
                      <a:lnTo>
                        <a:pt x="540" y="165"/>
                      </a:lnTo>
                      <a:lnTo>
                        <a:pt x="549" y="139"/>
                      </a:lnTo>
                      <a:lnTo>
                        <a:pt x="523" y="139"/>
                      </a:lnTo>
                      <a:lnTo>
                        <a:pt x="514" y="113"/>
                      </a:lnTo>
                      <a:lnTo>
                        <a:pt x="497" y="104"/>
                      </a:lnTo>
                      <a:lnTo>
                        <a:pt x="497" y="78"/>
                      </a:lnTo>
                      <a:lnTo>
                        <a:pt x="479" y="78"/>
                      </a:lnTo>
                      <a:lnTo>
                        <a:pt x="470" y="69"/>
                      </a:lnTo>
                      <a:lnTo>
                        <a:pt x="453" y="69"/>
                      </a:lnTo>
                      <a:lnTo>
                        <a:pt x="453" y="78"/>
                      </a:lnTo>
                      <a:lnTo>
                        <a:pt x="453" y="96"/>
                      </a:lnTo>
                      <a:lnTo>
                        <a:pt x="444" y="96"/>
                      </a:lnTo>
                      <a:lnTo>
                        <a:pt x="453" y="122"/>
                      </a:lnTo>
                      <a:lnTo>
                        <a:pt x="488" y="139"/>
                      </a:lnTo>
                      <a:lnTo>
                        <a:pt x="488" y="148"/>
                      </a:lnTo>
                      <a:lnTo>
                        <a:pt x="427" y="130"/>
                      </a:lnTo>
                      <a:lnTo>
                        <a:pt x="348" y="113"/>
                      </a:lnTo>
                      <a:lnTo>
                        <a:pt x="348" y="122"/>
                      </a:lnTo>
                      <a:lnTo>
                        <a:pt x="383" y="139"/>
                      </a:lnTo>
                      <a:lnTo>
                        <a:pt x="357" y="139"/>
                      </a:lnTo>
                      <a:lnTo>
                        <a:pt x="305" y="148"/>
                      </a:lnTo>
                      <a:lnTo>
                        <a:pt x="305" y="139"/>
                      </a:lnTo>
                      <a:lnTo>
                        <a:pt x="296" y="139"/>
                      </a:lnTo>
                      <a:lnTo>
                        <a:pt x="270" y="139"/>
                      </a:lnTo>
                      <a:lnTo>
                        <a:pt x="244" y="157"/>
                      </a:lnTo>
                      <a:lnTo>
                        <a:pt x="235" y="174"/>
                      </a:lnTo>
                      <a:lnTo>
                        <a:pt x="218" y="174"/>
                      </a:lnTo>
                      <a:lnTo>
                        <a:pt x="209" y="157"/>
                      </a:lnTo>
                      <a:lnTo>
                        <a:pt x="218" y="148"/>
                      </a:lnTo>
                      <a:lnTo>
                        <a:pt x="209" y="139"/>
                      </a:lnTo>
                      <a:lnTo>
                        <a:pt x="174" y="139"/>
                      </a:lnTo>
                      <a:lnTo>
                        <a:pt x="183" y="157"/>
                      </a:lnTo>
                      <a:lnTo>
                        <a:pt x="191" y="165"/>
                      </a:lnTo>
                      <a:lnTo>
                        <a:pt x="200" y="183"/>
                      </a:lnTo>
                      <a:lnTo>
                        <a:pt x="174" y="174"/>
                      </a:lnTo>
                      <a:lnTo>
                        <a:pt x="148" y="191"/>
                      </a:lnTo>
                      <a:lnTo>
                        <a:pt x="165" y="209"/>
                      </a:lnTo>
                      <a:lnTo>
                        <a:pt x="139" y="209"/>
                      </a:lnTo>
                      <a:lnTo>
                        <a:pt x="130" y="191"/>
                      </a:lnTo>
                      <a:lnTo>
                        <a:pt x="113" y="191"/>
                      </a:lnTo>
                      <a:lnTo>
                        <a:pt x="104" y="200"/>
                      </a:lnTo>
                      <a:lnTo>
                        <a:pt x="122" y="209"/>
                      </a:lnTo>
                      <a:lnTo>
                        <a:pt x="130" y="218"/>
                      </a:lnTo>
                      <a:lnTo>
                        <a:pt x="95" y="209"/>
                      </a:lnTo>
                      <a:lnTo>
                        <a:pt x="87" y="191"/>
                      </a:lnTo>
                      <a:lnTo>
                        <a:pt x="43" y="174"/>
                      </a:lnTo>
                      <a:lnTo>
                        <a:pt x="43" y="165"/>
                      </a:lnTo>
                      <a:lnTo>
                        <a:pt x="130" y="183"/>
                      </a:lnTo>
                      <a:lnTo>
                        <a:pt x="165" y="165"/>
                      </a:lnTo>
                      <a:lnTo>
                        <a:pt x="139" y="148"/>
                      </a:lnTo>
                      <a:lnTo>
                        <a:pt x="104" y="139"/>
                      </a:lnTo>
                      <a:lnTo>
                        <a:pt x="61" y="130"/>
                      </a:lnTo>
                      <a:lnTo>
                        <a:pt x="43" y="130"/>
                      </a:lnTo>
                      <a:lnTo>
                        <a:pt x="43" y="122"/>
                      </a:lnTo>
                      <a:lnTo>
                        <a:pt x="17" y="122"/>
                      </a:lnTo>
                      <a:lnTo>
                        <a:pt x="8" y="139"/>
                      </a:lnTo>
                      <a:lnTo>
                        <a:pt x="0" y="148"/>
                      </a:lnTo>
                      <a:lnTo>
                        <a:pt x="17" y="157"/>
                      </a:lnTo>
                      <a:lnTo>
                        <a:pt x="17" y="174"/>
                      </a:lnTo>
                      <a:lnTo>
                        <a:pt x="61" y="235"/>
                      </a:lnTo>
                      <a:lnTo>
                        <a:pt x="17" y="270"/>
                      </a:lnTo>
                      <a:lnTo>
                        <a:pt x="34" y="287"/>
                      </a:lnTo>
                      <a:lnTo>
                        <a:pt x="26" y="296"/>
                      </a:lnTo>
                      <a:lnTo>
                        <a:pt x="26" y="322"/>
                      </a:lnTo>
                      <a:lnTo>
                        <a:pt x="43" y="340"/>
                      </a:lnTo>
                      <a:lnTo>
                        <a:pt x="61" y="348"/>
                      </a:lnTo>
                      <a:lnTo>
                        <a:pt x="69" y="366"/>
                      </a:lnTo>
                      <a:lnTo>
                        <a:pt x="78" y="348"/>
                      </a:lnTo>
                      <a:lnTo>
                        <a:pt x="95" y="357"/>
                      </a:lnTo>
                      <a:lnTo>
                        <a:pt x="95" y="383"/>
                      </a:lnTo>
                      <a:lnTo>
                        <a:pt x="113" y="401"/>
                      </a:lnTo>
                      <a:lnTo>
                        <a:pt x="104" y="418"/>
                      </a:lnTo>
                      <a:lnTo>
                        <a:pt x="139" y="409"/>
                      </a:lnTo>
                      <a:lnTo>
                        <a:pt x="148" y="418"/>
                      </a:lnTo>
                      <a:lnTo>
                        <a:pt x="148" y="435"/>
                      </a:lnTo>
                      <a:lnTo>
                        <a:pt x="157" y="435"/>
                      </a:lnTo>
                      <a:lnTo>
                        <a:pt x="165" y="444"/>
                      </a:lnTo>
                      <a:lnTo>
                        <a:pt x="174" y="444"/>
                      </a:lnTo>
                      <a:lnTo>
                        <a:pt x="183" y="453"/>
                      </a:lnTo>
                      <a:lnTo>
                        <a:pt x="191" y="444"/>
                      </a:lnTo>
                      <a:lnTo>
                        <a:pt x="235" y="462"/>
                      </a:lnTo>
                      <a:lnTo>
                        <a:pt x="235" y="488"/>
                      </a:lnTo>
                      <a:lnTo>
                        <a:pt x="218" y="496"/>
                      </a:lnTo>
                      <a:lnTo>
                        <a:pt x="209" y="505"/>
                      </a:lnTo>
                      <a:lnTo>
                        <a:pt x="209" y="514"/>
                      </a:lnTo>
                      <a:lnTo>
                        <a:pt x="218" y="514"/>
                      </a:lnTo>
                      <a:lnTo>
                        <a:pt x="200" y="531"/>
                      </a:lnTo>
                      <a:lnTo>
                        <a:pt x="218" y="549"/>
                      </a:lnTo>
                      <a:lnTo>
                        <a:pt x="252" y="566"/>
                      </a:lnTo>
                      <a:lnTo>
                        <a:pt x="270" y="575"/>
                      </a:lnTo>
                      <a:lnTo>
                        <a:pt x="287" y="575"/>
                      </a:lnTo>
                      <a:lnTo>
                        <a:pt x="296" y="566"/>
                      </a:lnTo>
                      <a:lnTo>
                        <a:pt x="322" y="584"/>
                      </a:lnTo>
                      <a:lnTo>
                        <a:pt x="331" y="584"/>
                      </a:lnTo>
                      <a:lnTo>
                        <a:pt x="348" y="592"/>
                      </a:lnTo>
                      <a:lnTo>
                        <a:pt x="383" y="610"/>
                      </a:lnTo>
                      <a:lnTo>
                        <a:pt x="392" y="592"/>
                      </a:lnTo>
                      <a:lnTo>
                        <a:pt x="383" y="592"/>
                      </a:lnTo>
                      <a:lnTo>
                        <a:pt x="366" y="575"/>
                      </a:lnTo>
                      <a:lnTo>
                        <a:pt x="366" y="557"/>
                      </a:lnTo>
                      <a:lnTo>
                        <a:pt x="348" y="557"/>
                      </a:lnTo>
                      <a:lnTo>
                        <a:pt x="348" y="540"/>
                      </a:lnTo>
                      <a:lnTo>
                        <a:pt x="357" y="531"/>
                      </a:lnTo>
                      <a:lnTo>
                        <a:pt x="375" y="514"/>
                      </a:lnTo>
                      <a:lnTo>
                        <a:pt x="366" y="496"/>
                      </a:lnTo>
                      <a:lnTo>
                        <a:pt x="348" y="496"/>
                      </a:lnTo>
                      <a:lnTo>
                        <a:pt x="348" y="488"/>
                      </a:lnTo>
                      <a:lnTo>
                        <a:pt x="340" y="488"/>
                      </a:lnTo>
                      <a:lnTo>
                        <a:pt x="340" y="462"/>
                      </a:lnTo>
                      <a:lnTo>
                        <a:pt x="348" y="444"/>
                      </a:lnTo>
                      <a:lnTo>
                        <a:pt x="366" y="462"/>
                      </a:lnTo>
                      <a:lnTo>
                        <a:pt x="375" y="453"/>
                      </a:lnTo>
                      <a:lnTo>
                        <a:pt x="366" y="444"/>
                      </a:lnTo>
                      <a:lnTo>
                        <a:pt x="383" y="435"/>
                      </a:lnTo>
                      <a:lnTo>
                        <a:pt x="409" y="427"/>
                      </a:lnTo>
                      <a:lnTo>
                        <a:pt x="444" y="435"/>
                      </a:lnTo>
                      <a:lnTo>
                        <a:pt x="453" y="444"/>
                      </a:lnTo>
                      <a:lnTo>
                        <a:pt x="479" y="435"/>
                      </a:lnTo>
                      <a:lnTo>
                        <a:pt x="497" y="435"/>
                      </a:lnTo>
                      <a:lnTo>
                        <a:pt x="523" y="444"/>
                      </a:lnTo>
                      <a:lnTo>
                        <a:pt x="558" y="435"/>
                      </a:lnTo>
                      <a:lnTo>
                        <a:pt x="558" y="427"/>
                      </a:lnTo>
                      <a:lnTo>
                        <a:pt x="523" y="418"/>
                      </a:lnTo>
                      <a:lnTo>
                        <a:pt x="531" y="409"/>
                      </a:lnTo>
                      <a:lnTo>
                        <a:pt x="549" y="409"/>
                      </a:lnTo>
                      <a:lnTo>
                        <a:pt x="531" y="392"/>
                      </a:lnTo>
                      <a:lnTo>
                        <a:pt x="575" y="383"/>
                      </a:lnTo>
                      <a:lnTo>
                        <a:pt x="592" y="374"/>
                      </a:lnTo>
                      <a:lnTo>
                        <a:pt x="619" y="366"/>
                      </a:lnTo>
                      <a:lnTo>
                        <a:pt x="627" y="357"/>
                      </a:lnTo>
                      <a:lnTo>
                        <a:pt x="662" y="366"/>
                      </a:lnTo>
                      <a:lnTo>
                        <a:pt x="671" y="383"/>
                      </a:lnTo>
                      <a:lnTo>
                        <a:pt x="706" y="392"/>
                      </a:lnTo>
                      <a:lnTo>
                        <a:pt x="715" y="401"/>
                      </a:lnTo>
                      <a:lnTo>
                        <a:pt x="758" y="383"/>
                      </a:lnTo>
                      <a:lnTo>
                        <a:pt x="776" y="401"/>
                      </a:lnTo>
                      <a:lnTo>
                        <a:pt x="819" y="444"/>
                      </a:lnTo>
                      <a:lnTo>
                        <a:pt x="872" y="444"/>
                      </a:lnTo>
                      <a:lnTo>
                        <a:pt x="924" y="462"/>
                      </a:lnTo>
                      <a:lnTo>
                        <a:pt x="941" y="462"/>
                      </a:lnTo>
                      <a:lnTo>
                        <a:pt x="985" y="444"/>
                      </a:lnTo>
                      <a:lnTo>
                        <a:pt x="1020" y="444"/>
                      </a:lnTo>
                      <a:lnTo>
                        <a:pt x="1037" y="453"/>
                      </a:lnTo>
                      <a:lnTo>
                        <a:pt x="1089" y="453"/>
                      </a:lnTo>
                      <a:lnTo>
                        <a:pt x="1072" y="418"/>
                      </a:lnTo>
                      <a:lnTo>
                        <a:pt x="1133" y="427"/>
                      </a:lnTo>
                      <a:lnTo>
                        <a:pt x="1159" y="444"/>
                      </a:lnTo>
                      <a:lnTo>
                        <a:pt x="1203" y="444"/>
                      </a:lnTo>
                      <a:lnTo>
                        <a:pt x="1238" y="462"/>
                      </a:lnTo>
                      <a:lnTo>
                        <a:pt x="1307" y="462"/>
                      </a:lnTo>
                      <a:lnTo>
                        <a:pt x="1316" y="453"/>
                      </a:lnTo>
                      <a:lnTo>
                        <a:pt x="1369" y="453"/>
                      </a:lnTo>
                      <a:lnTo>
                        <a:pt x="1395" y="444"/>
                      </a:lnTo>
                      <a:lnTo>
                        <a:pt x="1377" y="435"/>
                      </a:lnTo>
                      <a:lnTo>
                        <a:pt x="1395" y="418"/>
                      </a:lnTo>
                      <a:lnTo>
                        <a:pt x="1377" y="401"/>
                      </a:lnTo>
                      <a:lnTo>
                        <a:pt x="1377" y="392"/>
                      </a:lnTo>
                      <a:lnTo>
                        <a:pt x="1412" y="383"/>
                      </a:lnTo>
                      <a:lnTo>
                        <a:pt x="1499" y="418"/>
                      </a:lnTo>
                      <a:lnTo>
                        <a:pt x="1508" y="444"/>
                      </a:lnTo>
                      <a:lnTo>
                        <a:pt x="1552" y="462"/>
                      </a:lnTo>
                      <a:lnTo>
                        <a:pt x="1595" y="488"/>
                      </a:lnTo>
                      <a:lnTo>
                        <a:pt x="1639" y="470"/>
                      </a:lnTo>
                      <a:lnTo>
                        <a:pt x="1665" y="531"/>
                      </a:lnTo>
                      <a:lnTo>
                        <a:pt x="1639" y="540"/>
                      </a:lnTo>
                      <a:lnTo>
                        <a:pt x="1656" y="575"/>
                      </a:lnTo>
                      <a:lnTo>
                        <a:pt x="1691" y="566"/>
                      </a:lnTo>
                      <a:lnTo>
                        <a:pt x="1717" y="523"/>
                      </a:lnTo>
                      <a:lnTo>
                        <a:pt x="1709" y="479"/>
                      </a:lnTo>
                      <a:lnTo>
                        <a:pt x="1717" y="479"/>
                      </a:lnTo>
                      <a:lnTo>
                        <a:pt x="1665" y="401"/>
                      </a:lnTo>
                      <a:lnTo>
                        <a:pt x="1648" y="383"/>
                      </a:lnTo>
                      <a:lnTo>
                        <a:pt x="1613" y="374"/>
                      </a:lnTo>
                      <a:lnTo>
                        <a:pt x="1604" y="383"/>
                      </a:lnTo>
                      <a:lnTo>
                        <a:pt x="1586" y="374"/>
                      </a:lnTo>
                      <a:lnTo>
                        <a:pt x="1569" y="366"/>
                      </a:lnTo>
                      <a:lnTo>
                        <a:pt x="1543" y="357"/>
                      </a:lnTo>
                      <a:lnTo>
                        <a:pt x="1560" y="340"/>
                      </a:lnTo>
                      <a:lnTo>
                        <a:pt x="1569" y="313"/>
                      </a:lnTo>
                      <a:lnTo>
                        <a:pt x="1569" y="287"/>
                      </a:lnTo>
                      <a:lnTo>
                        <a:pt x="1656" y="296"/>
                      </a:lnTo>
                      <a:lnTo>
                        <a:pt x="1656" y="279"/>
                      </a:lnTo>
                      <a:lnTo>
                        <a:pt x="1700" y="287"/>
                      </a:lnTo>
                      <a:lnTo>
                        <a:pt x="1717" y="296"/>
                      </a:lnTo>
                      <a:lnTo>
                        <a:pt x="1735" y="287"/>
                      </a:lnTo>
                      <a:lnTo>
                        <a:pt x="1743" y="287"/>
                      </a:lnTo>
                      <a:lnTo>
                        <a:pt x="1726" y="270"/>
                      </a:lnTo>
                      <a:lnTo>
                        <a:pt x="1726" y="244"/>
                      </a:lnTo>
                      <a:lnTo>
                        <a:pt x="1770" y="244"/>
                      </a:lnTo>
                      <a:lnTo>
                        <a:pt x="1778" y="261"/>
                      </a:lnTo>
                      <a:lnTo>
                        <a:pt x="1796" y="244"/>
                      </a:lnTo>
                      <a:lnTo>
                        <a:pt x="1787" y="235"/>
                      </a:lnTo>
                      <a:lnTo>
                        <a:pt x="1796" y="226"/>
                      </a:lnTo>
                      <a:lnTo>
                        <a:pt x="1813" y="235"/>
                      </a:lnTo>
                      <a:lnTo>
                        <a:pt x="1804" y="235"/>
                      </a:lnTo>
                      <a:lnTo>
                        <a:pt x="1822" y="252"/>
                      </a:lnTo>
                      <a:lnTo>
                        <a:pt x="1813" y="287"/>
                      </a:lnTo>
                      <a:lnTo>
                        <a:pt x="1813" y="305"/>
                      </a:lnTo>
                      <a:lnTo>
                        <a:pt x="1804" y="313"/>
                      </a:lnTo>
                      <a:lnTo>
                        <a:pt x="1813" y="348"/>
                      </a:lnTo>
                      <a:lnTo>
                        <a:pt x="1857" y="374"/>
                      </a:lnTo>
                      <a:lnTo>
                        <a:pt x="1874" y="401"/>
                      </a:lnTo>
                      <a:lnTo>
                        <a:pt x="1892" y="401"/>
                      </a:lnTo>
                      <a:lnTo>
                        <a:pt x="1909" y="427"/>
                      </a:lnTo>
                      <a:lnTo>
                        <a:pt x="1918" y="427"/>
                      </a:lnTo>
                      <a:lnTo>
                        <a:pt x="1927" y="409"/>
                      </a:lnTo>
                      <a:lnTo>
                        <a:pt x="1909" y="401"/>
                      </a:lnTo>
                      <a:lnTo>
                        <a:pt x="1918" y="383"/>
                      </a:lnTo>
                      <a:lnTo>
                        <a:pt x="1909" y="366"/>
                      </a:lnTo>
                      <a:lnTo>
                        <a:pt x="1918" y="366"/>
                      </a:lnTo>
                      <a:lnTo>
                        <a:pt x="1909" y="340"/>
                      </a:lnTo>
                      <a:lnTo>
                        <a:pt x="1918" y="340"/>
                      </a:lnTo>
                      <a:lnTo>
                        <a:pt x="1874" y="313"/>
                      </a:lnTo>
                      <a:lnTo>
                        <a:pt x="1857" y="305"/>
                      </a:lnTo>
                      <a:lnTo>
                        <a:pt x="1857" y="296"/>
                      </a:lnTo>
                      <a:lnTo>
                        <a:pt x="1874" y="305"/>
                      </a:lnTo>
                      <a:lnTo>
                        <a:pt x="1874" y="287"/>
                      </a:lnTo>
                      <a:lnTo>
                        <a:pt x="1848" y="287"/>
                      </a:lnTo>
                      <a:lnTo>
                        <a:pt x="1848" y="279"/>
                      </a:lnTo>
                      <a:lnTo>
                        <a:pt x="1865" y="261"/>
                      </a:lnTo>
                      <a:lnTo>
                        <a:pt x="1874" y="270"/>
                      </a:lnTo>
                      <a:lnTo>
                        <a:pt x="1909" y="261"/>
                      </a:lnTo>
                      <a:lnTo>
                        <a:pt x="1927" y="270"/>
                      </a:lnTo>
                      <a:lnTo>
                        <a:pt x="1944" y="244"/>
                      </a:lnTo>
                      <a:lnTo>
                        <a:pt x="1961" y="235"/>
                      </a:lnTo>
                      <a:lnTo>
                        <a:pt x="1961" y="226"/>
                      </a:lnTo>
                      <a:lnTo>
                        <a:pt x="1988" y="235"/>
                      </a:lnTo>
                      <a:lnTo>
                        <a:pt x="1996" y="218"/>
                      </a:lnTo>
                      <a:lnTo>
                        <a:pt x="1909" y="191"/>
                      </a:lnTo>
                      <a:lnTo>
                        <a:pt x="1944" y="191"/>
                      </a:lnTo>
                      <a:lnTo>
                        <a:pt x="1918" y="174"/>
                      </a:lnTo>
                      <a:lnTo>
                        <a:pt x="1927" y="165"/>
                      </a:lnTo>
                      <a:lnTo>
                        <a:pt x="1944" y="183"/>
                      </a:lnTo>
                      <a:lnTo>
                        <a:pt x="1970" y="183"/>
                      </a:lnTo>
                      <a:lnTo>
                        <a:pt x="1996" y="191"/>
                      </a:lnTo>
                      <a:lnTo>
                        <a:pt x="2031" y="191"/>
                      </a:lnTo>
                      <a:lnTo>
                        <a:pt x="2040" y="209"/>
                      </a:lnTo>
                      <a:lnTo>
                        <a:pt x="2066" y="200"/>
                      </a:lnTo>
                      <a:lnTo>
                        <a:pt x="2040" y="191"/>
                      </a:lnTo>
                      <a:lnTo>
                        <a:pt x="2040" y="174"/>
                      </a:lnTo>
                      <a:lnTo>
                        <a:pt x="1988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4" name="Freeform 168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5" name="Freeform 169"/>
                <p:cNvSpPr>
                  <a:spLocks/>
                </p:cNvSpPr>
                <p:nvPr/>
              </p:nvSpPr>
              <p:spPr bwMode="auto">
                <a:xfrm>
                  <a:off x="6472464" y="1727373"/>
                  <a:ext cx="149980" cy="158488"/>
                </a:xfrm>
                <a:custGeom>
                  <a:avLst/>
                  <a:gdLst>
                    <a:gd name="T0" fmla="*/ 2147483647 w 140"/>
                    <a:gd name="T1" fmla="*/ 2147483647 h 148"/>
                    <a:gd name="T2" fmla="*/ 2147483647 w 140"/>
                    <a:gd name="T3" fmla="*/ 2147483647 h 148"/>
                    <a:gd name="T4" fmla="*/ 2147483647 w 140"/>
                    <a:gd name="T5" fmla="*/ 2147483647 h 148"/>
                    <a:gd name="T6" fmla="*/ 2147483647 w 140"/>
                    <a:gd name="T7" fmla="*/ 2147483647 h 148"/>
                    <a:gd name="T8" fmla="*/ 2147483647 w 140"/>
                    <a:gd name="T9" fmla="*/ 2147483647 h 148"/>
                    <a:gd name="T10" fmla="*/ 2147483647 w 140"/>
                    <a:gd name="T11" fmla="*/ 2147483647 h 148"/>
                    <a:gd name="T12" fmla="*/ 2147483647 w 140"/>
                    <a:gd name="T13" fmla="*/ 2147483647 h 148"/>
                    <a:gd name="T14" fmla="*/ 2147483647 w 140"/>
                    <a:gd name="T15" fmla="*/ 2147483647 h 148"/>
                    <a:gd name="T16" fmla="*/ 2147483647 w 140"/>
                    <a:gd name="T17" fmla="*/ 2147483647 h 148"/>
                    <a:gd name="T18" fmla="*/ 2147483647 w 140"/>
                    <a:gd name="T19" fmla="*/ 2147483647 h 148"/>
                    <a:gd name="T20" fmla="*/ 2147483647 w 140"/>
                    <a:gd name="T21" fmla="*/ 2147483647 h 148"/>
                    <a:gd name="T22" fmla="*/ 2147483647 w 140"/>
                    <a:gd name="T23" fmla="*/ 2147483647 h 148"/>
                    <a:gd name="T24" fmla="*/ 2147483647 w 140"/>
                    <a:gd name="T25" fmla="*/ 2147483647 h 148"/>
                    <a:gd name="T26" fmla="*/ 2147483647 w 140"/>
                    <a:gd name="T27" fmla="*/ 2147483647 h 148"/>
                    <a:gd name="T28" fmla="*/ 2147483647 w 140"/>
                    <a:gd name="T29" fmla="*/ 2147483647 h 148"/>
                    <a:gd name="T30" fmla="*/ 2147483647 w 140"/>
                    <a:gd name="T31" fmla="*/ 2147483647 h 148"/>
                    <a:gd name="T32" fmla="*/ 2147483647 w 140"/>
                    <a:gd name="T33" fmla="*/ 0 h 148"/>
                    <a:gd name="T34" fmla="*/ 0 w 140"/>
                    <a:gd name="T35" fmla="*/ 0 h 148"/>
                    <a:gd name="T36" fmla="*/ 2147483647 w 140"/>
                    <a:gd name="T37" fmla="*/ 2147483647 h 1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0"/>
                    <a:gd name="T58" fmla="*/ 0 h 148"/>
                    <a:gd name="T59" fmla="*/ 140 w 140"/>
                    <a:gd name="T60" fmla="*/ 148 h 1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0" h="148">
                      <a:moveTo>
                        <a:pt x="26" y="43"/>
                      </a:moveTo>
                      <a:lnTo>
                        <a:pt x="44" y="52"/>
                      </a:lnTo>
                      <a:lnTo>
                        <a:pt x="61" y="78"/>
                      </a:lnTo>
                      <a:lnTo>
                        <a:pt x="79" y="87"/>
                      </a:lnTo>
                      <a:lnTo>
                        <a:pt x="79" y="113"/>
                      </a:lnTo>
                      <a:lnTo>
                        <a:pt x="96" y="122"/>
                      </a:lnTo>
                      <a:lnTo>
                        <a:pt x="105" y="139"/>
                      </a:lnTo>
                      <a:lnTo>
                        <a:pt x="114" y="148"/>
                      </a:lnTo>
                      <a:lnTo>
                        <a:pt x="114" y="139"/>
                      </a:lnTo>
                      <a:lnTo>
                        <a:pt x="140" y="148"/>
                      </a:lnTo>
                      <a:lnTo>
                        <a:pt x="122" y="130"/>
                      </a:lnTo>
                      <a:lnTo>
                        <a:pt x="96" y="113"/>
                      </a:lnTo>
                      <a:lnTo>
                        <a:pt x="96" y="96"/>
                      </a:lnTo>
                      <a:lnTo>
                        <a:pt x="114" y="96"/>
                      </a:lnTo>
                      <a:lnTo>
                        <a:pt x="105" y="87"/>
                      </a:lnTo>
                      <a:lnTo>
                        <a:pt x="79" y="69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6" name="Freeform 170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7" name="Freeform 171"/>
                <p:cNvSpPr>
                  <a:spLocks/>
                </p:cNvSpPr>
                <p:nvPr/>
              </p:nvSpPr>
              <p:spPr bwMode="auto">
                <a:xfrm>
                  <a:off x="6808848" y="170809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0 w 26"/>
                    <a:gd name="T3" fmla="*/ 0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8"/>
                    <a:gd name="T20" fmla="*/ 26 w 26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8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8" y="18"/>
                      </a:lnTo>
                      <a:lnTo>
                        <a:pt x="26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8" name="Freeform 172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79" name="Freeform 173"/>
                <p:cNvSpPr>
                  <a:spLocks/>
                </p:cNvSpPr>
                <p:nvPr/>
              </p:nvSpPr>
              <p:spPr bwMode="auto">
                <a:xfrm>
                  <a:off x="6743499" y="1801263"/>
                  <a:ext cx="9642" cy="19276"/>
                </a:xfrm>
                <a:custGeom>
                  <a:avLst/>
                  <a:gdLst>
                    <a:gd name="T0" fmla="*/ 2147483647 w 9"/>
                    <a:gd name="T1" fmla="*/ 2147483647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9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0" name="Freeform 174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1" name="Freeform 175"/>
                <p:cNvSpPr>
                  <a:spLocks/>
                </p:cNvSpPr>
                <p:nvPr/>
              </p:nvSpPr>
              <p:spPr bwMode="auto">
                <a:xfrm>
                  <a:off x="6836702" y="1717735"/>
                  <a:ext cx="27853" cy="9638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7 h 9"/>
                    <a:gd name="T4" fmla="*/ 2147483647 w 26"/>
                    <a:gd name="T5" fmla="*/ 2147483647 h 9"/>
                    <a:gd name="T6" fmla="*/ 2147483647 w 26"/>
                    <a:gd name="T7" fmla="*/ 2147483647 h 9"/>
                    <a:gd name="T8" fmla="*/ 0 w 26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8" y="9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2" name="Freeform 176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3" name="Freeform 177"/>
                <p:cNvSpPr>
                  <a:spLocks/>
                </p:cNvSpPr>
                <p:nvPr/>
              </p:nvSpPr>
              <p:spPr bwMode="auto">
                <a:xfrm>
                  <a:off x="5959317" y="1353641"/>
                  <a:ext cx="46066" cy="47118"/>
                </a:xfrm>
                <a:custGeom>
                  <a:avLst/>
                  <a:gdLst>
                    <a:gd name="T0" fmla="*/ 2147483647 w 43"/>
                    <a:gd name="T1" fmla="*/ 0 h 44"/>
                    <a:gd name="T2" fmla="*/ 2147483647 w 43"/>
                    <a:gd name="T3" fmla="*/ 2147483647 h 44"/>
                    <a:gd name="T4" fmla="*/ 0 w 43"/>
                    <a:gd name="T5" fmla="*/ 2147483647 h 44"/>
                    <a:gd name="T6" fmla="*/ 2147483647 w 43"/>
                    <a:gd name="T7" fmla="*/ 2147483647 h 44"/>
                    <a:gd name="T8" fmla="*/ 2147483647 w 43"/>
                    <a:gd name="T9" fmla="*/ 2147483647 h 44"/>
                    <a:gd name="T10" fmla="*/ 2147483647 w 43"/>
                    <a:gd name="T11" fmla="*/ 2147483647 h 44"/>
                    <a:gd name="T12" fmla="*/ 2147483647 w 43"/>
                    <a:gd name="T13" fmla="*/ 2147483647 h 44"/>
                    <a:gd name="T14" fmla="*/ 2147483647 w 43"/>
                    <a:gd name="T15" fmla="*/ 2147483647 h 44"/>
                    <a:gd name="T16" fmla="*/ 2147483647 w 43"/>
                    <a:gd name="T17" fmla="*/ 2147483647 h 44"/>
                    <a:gd name="T18" fmla="*/ 2147483647 w 43"/>
                    <a:gd name="T19" fmla="*/ 0 h 44"/>
                    <a:gd name="T20" fmla="*/ 2147483647 w 43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3"/>
                    <a:gd name="T34" fmla="*/ 0 h 44"/>
                    <a:gd name="T35" fmla="*/ 43 w 43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3" h="44">
                      <a:moveTo>
                        <a:pt x="8" y="0"/>
                      </a:moveTo>
                      <a:lnTo>
                        <a:pt x="8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3" y="26"/>
                      </a:lnTo>
                      <a:lnTo>
                        <a:pt x="35" y="9"/>
                      </a:lnTo>
                      <a:lnTo>
                        <a:pt x="17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4" name="Rectangle 178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5" name="Rectangle 179"/>
                <p:cNvSpPr>
                  <a:spLocks noChangeArrowheads="1"/>
                </p:cNvSpPr>
                <p:nvPr/>
              </p:nvSpPr>
              <p:spPr bwMode="auto">
                <a:xfrm>
                  <a:off x="5940034" y="1363279"/>
                  <a:ext cx="9642" cy="18205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6" name="Freeform 180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7" name="Freeform 181"/>
                <p:cNvSpPr>
                  <a:spLocks/>
                </p:cNvSpPr>
                <p:nvPr/>
              </p:nvSpPr>
              <p:spPr bwMode="auto">
                <a:xfrm>
                  <a:off x="6005383" y="1363279"/>
                  <a:ext cx="65349" cy="18205"/>
                </a:xfrm>
                <a:custGeom>
                  <a:avLst/>
                  <a:gdLst>
                    <a:gd name="T0" fmla="*/ 2147483647 w 61"/>
                    <a:gd name="T1" fmla="*/ 2147483647 h 17"/>
                    <a:gd name="T2" fmla="*/ 2147483647 w 61"/>
                    <a:gd name="T3" fmla="*/ 0 h 17"/>
                    <a:gd name="T4" fmla="*/ 0 w 61"/>
                    <a:gd name="T5" fmla="*/ 0 h 17"/>
                    <a:gd name="T6" fmla="*/ 0 w 61"/>
                    <a:gd name="T7" fmla="*/ 2147483647 h 17"/>
                    <a:gd name="T8" fmla="*/ 2147483647 w 61"/>
                    <a:gd name="T9" fmla="*/ 2147483647 h 17"/>
                    <a:gd name="T10" fmla="*/ 2147483647 w 61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17"/>
                    <a:gd name="T20" fmla="*/ 61 w 61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17">
                      <a:moveTo>
                        <a:pt x="61" y="17"/>
                      </a:moveTo>
                      <a:lnTo>
                        <a:pt x="44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lnTo>
                        <a:pt x="61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8" name="Freeform 182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89" name="Freeform 183"/>
                <p:cNvSpPr>
                  <a:spLocks/>
                </p:cNvSpPr>
                <p:nvPr/>
              </p:nvSpPr>
              <p:spPr bwMode="auto">
                <a:xfrm>
                  <a:off x="6052520" y="1391122"/>
                  <a:ext cx="37495" cy="18205"/>
                </a:xfrm>
                <a:custGeom>
                  <a:avLst/>
                  <a:gdLst>
                    <a:gd name="T0" fmla="*/ 0 w 35"/>
                    <a:gd name="T1" fmla="*/ 0 h 17"/>
                    <a:gd name="T2" fmla="*/ 0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2147483647 h 17"/>
                    <a:gd name="T8" fmla="*/ 2147483647 w 35"/>
                    <a:gd name="T9" fmla="*/ 2147483647 h 17"/>
                    <a:gd name="T10" fmla="*/ 2147483647 w 35"/>
                    <a:gd name="T11" fmla="*/ 0 h 17"/>
                    <a:gd name="T12" fmla="*/ 2147483647 w 35"/>
                    <a:gd name="T13" fmla="*/ 2147483647 h 17"/>
                    <a:gd name="T14" fmla="*/ 0 w 35"/>
                    <a:gd name="T15" fmla="*/ 0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5"/>
                    <a:gd name="T25" fmla="*/ 0 h 17"/>
                    <a:gd name="T26" fmla="*/ 35 w 35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5" h="1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26" y="17"/>
                      </a:lnTo>
                      <a:lnTo>
                        <a:pt x="35" y="17"/>
                      </a:lnTo>
                      <a:lnTo>
                        <a:pt x="35" y="9"/>
                      </a:ln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0" name="Freeform 184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1" name="Freeform 185"/>
                <p:cNvSpPr>
                  <a:spLocks/>
                </p:cNvSpPr>
                <p:nvPr/>
              </p:nvSpPr>
              <p:spPr bwMode="auto">
                <a:xfrm>
                  <a:off x="6033236" y="1391122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2" name="Freeform 186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3" name="Freeform 187"/>
                <p:cNvSpPr>
                  <a:spLocks/>
                </p:cNvSpPr>
                <p:nvPr/>
              </p:nvSpPr>
              <p:spPr bwMode="auto">
                <a:xfrm>
                  <a:off x="6080373" y="1363279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0 h 26"/>
                    <a:gd name="T4" fmla="*/ 2147483647 w 61"/>
                    <a:gd name="T5" fmla="*/ 0 h 26"/>
                    <a:gd name="T6" fmla="*/ 2147483647 w 61"/>
                    <a:gd name="T7" fmla="*/ 2147483647 h 26"/>
                    <a:gd name="T8" fmla="*/ 0 w 61"/>
                    <a:gd name="T9" fmla="*/ 0 h 26"/>
                    <a:gd name="T10" fmla="*/ 2147483647 w 61"/>
                    <a:gd name="T11" fmla="*/ 2147483647 h 26"/>
                    <a:gd name="T12" fmla="*/ 2147483647 w 61"/>
                    <a:gd name="T13" fmla="*/ 2147483647 h 26"/>
                    <a:gd name="T14" fmla="*/ 2147483647 w 61"/>
                    <a:gd name="T15" fmla="*/ 2147483647 h 26"/>
                    <a:gd name="T16" fmla="*/ 2147483647 w 61"/>
                    <a:gd name="T17" fmla="*/ 2147483647 h 2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26"/>
                    <a:gd name="T29" fmla="*/ 61 w 61"/>
                    <a:gd name="T30" fmla="*/ 26 h 2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26">
                      <a:moveTo>
                        <a:pt x="61" y="9"/>
                      </a:moveTo>
                      <a:lnTo>
                        <a:pt x="35" y="0"/>
                      </a:ln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6" y="26"/>
                      </a:lnTo>
                      <a:lnTo>
                        <a:pt x="61" y="17"/>
                      </a:lnTo>
                      <a:lnTo>
                        <a:pt x="61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4" name="Freeform 188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5" name="Freeform 189"/>
                <p:cNvSpPr>
                  <a:spLocks/>
                </p:cNvSpPr>
                <p:nvPr/>
              </p:nvSpPr>
              <p:spPr bwMode="auto">
                <a:xfrm>
                  <a:off x="6379262" y="1708098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17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6" name="Freeform 190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7" name="Freeform 191"/>
                <p:cNvSpPr>
                  <a:spLocks/>
                </p:cNvSpPr>
                <p:nvPr/>
              </p:nvSpPr>
              <p:spPr bwMode="auto">
                <a:xfrm>
                  <a:off x="6743499" y="1858019"/>
                  <a:ext cx="9642" cy="18205"/>
                </a:xfrm>
                <a:custGeom>
                  <a:avLst/>
                  <a:gdLst>
                    <a:gd name="T0" fmla="*/ 0 w 9"/>
                    <a:gd name="T1" fmla="*/ 2147483647 h 17"/>
                    <a:gd name="T2" fmla="*/ 2147483647 w 9"/>
                    <a:gd name="T3" fmla="*/ 2147483647 h 17"/>
                    <a:gd name="T4" fmla="*/ 0 w 9"/>
                    <a:gd name="T5" fmla="*/ 0 h 17"/>
                    <a:gd name="T6" fmla="*/ 0 w 9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7"/>
                    <a:gd name="T14" fmla="*/ 9 w 9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7">
                      <a:moveTo>
                        <a:pt x="0" y="17"/>
                      </a:moveTo>
                      <a:lnTo>
                        <a:pt x="9" y="17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8" name="Freeform 192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199" name="Freeform 193"/>
                <p:cNvSpPr>
                  <a:spLocks/>
                </p:cNvSpPr>
                <p:nvPr/>
              </p:nvSpPr>
              <p:spPr bwMode="auto">
                <a:xfrm>
                  <a:off x="5464383" y="1316161"/>
                  <a:ext cx="55707" cy="27842"/>
                </a:xfrm>
                <a:custGeom>
                  <a:avLst/>
                  <a:gdLst>
                    <a:gd name="T0" fmla="*/ 2147483647 w 52"/>
                    <a:gd name="T1" fmla="*/ 2147483647 h 26"/>
                    <a:gd name="T2" fmla="*/ 2147483647 w 52"/>
                    <a:gd name="T3" fmla="*/ 2147483647 h 26"/>
                    <a:gd name="T4" fmla="*/ 2147483647 w 52"/>
                    <a:gd name="T5" fmla="*/ 0 h 26"/>
                    <a:gd name="T6" fmla="*/ 0 w 52"/>
                    <a:gd name="T7" fmla="*/ 2147483647 h 26"/>
                    <a:gd name="T8" fmla="*/ 0 w 52"/>
                    <a:gd name="T9" fmla="*/ 2147483647 h 26"/>
                    <a:gd name="T10" fmla="*/ 2147483647 w 52"/>
                    <a:gd name="T11" fmla="*/ 2147483647 h 26"/>
                    <a:gd name="T12" fmla="*/ 2147483647 w 52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26"/>
                    <a:gd name="T23" fmla="*/ 52 w 52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26">
                      <a:moveTo>
                        <a:pt x="52" y="18"/>
                      </a:moveTo>
                      <a:lnTo>
                        <a:pt x="52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7" y="18"/>
                      </a:lnTo>
                      <a:lnTo>
                        <a:pt x="5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0" name="Rectangle 194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1" name="Rectangle 195"/>
                <p:cNvSpPr>
                  <a:spLocks noChangeArrowheads="1"/>
                </p:cNvSpPr>
                <p:nvPr/>
              </p:nvSpPr>
              <p:spPr bwMode="auto">
                <a:xfrm>
                  <a:off x="5174064" y="1316161"/>
                  <a:ext cx="964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2" name="Rectangle 196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3" name="Rectangle 197"/>
                <p:cNvSpPr>
                  <a:spLocks noChangeArrowheads="1"/>
                </p:cNvSpPr>
                <p:nvPr/>
              </p:nvSpPr>
              <p:spPr bwMode="auto">
                <a:xfrm>
                  <a:off x="5183705" y="1297956"/>
                  <a:ext cx="18212" cy="9638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4" name="Freeform 198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5" name="Freeform 199"/>
                <p:cNvSpPr>
                  <a:spLocks/>
                </p:cNvSpPr>
                <p:nvPr/>
              </p:nvSpPr>
              <p:spPr bwMode="auto">
                <a:xfrm>
                  <a:off x="5296191" y="1363279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2147483647 h 17"/>
                    <a:gd name="T4" fmla="*/ 2147483647 w 17"/>
                    <a:gd name="T5" fmla="*/ 0 h 17"/>
                    <a:gd name="T6" fmla="*/ 0 w 17"/>
                    <a:gd name="T7" fmla="*/ 0 h 17"/>
                    <a:gd name="T8" fmla="*/ 2147483647 w 17"/>
                    <a:gd name="T9" fmla="*/ 214748364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7"/>
                    <a:gd name="T17" fmla="*/ 17 w 17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7">
                      <a:moveTo>
                        <a:pt x="8" y="17"/>
                      </a:moveTo>
                      <a:lnTo>
                        <a:pt x="17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6" name="Freeform 200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7" name="Freeform 201"/>
                <p:cNvSpPr>
                  <a:spLocks/>
                </p:cNvSpPr>
                <p:nvPr/>
              </p:nvSpPr>
              <p:spPr bwMode="auto">
                <a:xfrm>
                  <a:off x="5389393" y="1307594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2147483647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0 h 26"/>
                    <a:gd name="T8" fmla="*/ 2147483647 w 61"/>
                    <a:gd name="T9" fmla="*/ 0 h 26"/>
                    <a:gd name="T10" fmla="*/ 0 w 61"/>
                    <a:gd name="T11" fmla="*/ 2147483647 h 26"/>
                    <a:gd name="T12" fmla="*/ 2147483647 w 61"/>
                    <a:gd name="T13" fmla="*/ 214748364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6"/>
                    <a:gd name="T23" fmla="*/ 61 w 61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6">
                      <a:moveTo>
                        <a:pt x="26" y="17"/>
                      </a:moveTo>
                      <a:lnTo>
                        <a:pt x="43" y="26"/>
                      </a:lnTo>
                      <a:lnTo>
                        <a:pt x="61" y="17"/>
                      </a:lnTo>
                      <a:lnTo>
                        <a:pt x="26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8" name="Freeform 202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09" name="Freeform 203"/>
                <p:cNvSpPr>
                  <a:spLocks/>
                </p:cNvSpPr>
                <p:nvPr/>
              </p:nvSpPr>
              <p:spPr bwMode="auto">
                <a:xfrm>
                  <a:off x="5435458" y="1344004"/>
                  <a:ext cx="19283" cy="9638"/>
                </a:xfrm>
                <a:custGeom>
                  <a:avLst/>
                  <a:gdLst>
                    <a:gd name="T0" fmla="*/ 2147483647 w 18"/>
                    <a:gd name="T1" fmla="*/ 0 h 9"/>
                    <a:gd name="T2" fmla="*/ 0 w 18"/>
                    <a:gd name="T3" fmla="*/ 2147483647 h 9"/>
                    <a:gd name="T4" fmla="*/ 2147483647 w 18"/>
                    <a:gd name="T5" fmla="*/ 2147483647 h 9"/>
                    <a:gd name="T6" fmla="*/ 2147483647 w 18"/>
                    <a:gd name="T7" fmla="*/ 0 h 9"/>
                    <a:gd name="T8" fmla="*/ 2147483647 w 18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9"/>
                    <a:gd name="T17" fmla="*/ 18 w 18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18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0" name="Freeform 204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1" name="Freeform 205"/>
                <p:cNvSpPr>
                  <a:spLocks/>
                </p:cNvSpPr>
                <p:nvPr/>
              </p:nvSpPr>
              <p:spPr bwMode="auto">
                <a:xfrm>
                  <a:off x="5379751" y="1316161"/>
                  <a:ext cx="9642" cy="9638"/>
                </a:xfrm>
                <a:custGeom>
                  <a:avLst/>
                  <a:gdLst>
                    <a:gd name="T0" fmla="*/ 2147483647 w 9"/>
                    <a:gd name="T1" fmla="*/ 2147483647 h 9"/>
                    <a:gd name="T2" fmla="*/ 0 w 9"/>
                    <a:gd name="T3" fmla="*/ 0 h 9"/>
                    <a:gd name="T4" fmla="*/ 0 w 9"/>
                    <a:gd name="T5" fmla="*/ 2147483647 h 9"/>
                    <a:gd name="T6" fmla="*/ 2147483647 w 9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9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2" name="Freeform 207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3" name="Freeform 208"/>
                <p:cNvSpPr>
                  <a:spLocks/>
                </p:cNvSpPr>
                <p:nvPr/>
              </p:nvSpPr>
              <p:spPr bwMode="auto">
                <a:xfrm>
                  <a:off x="5332614" y="1297956"/>
                  <a:ext cx="66420" cy="18205"/>
                </a:xfrm>
                <a:custGeom>
                  <a:avLst/>
                  <a:gdLst>
                    <a:gd name="T0" fmla="*/ 2147483647 w 62"/>
                    <a:gd name="T1" fmla="*/ 2147483647 h 17"/>
                    <a:gd name="T2" fmla="*/ 2147483647 w 62"/>
                    <a:gd name="T3" fmla="*/ 2147483647 h 17"/>
                    <a:gd name="T4" fmla="*/ 2147483647 w 62"/>
                    <a:gd name="T5" fmla="*/ 0 h 17"/>
                    <a:gd name="T6" fmla="*/ 2147483647 w 62"/>
                    <a:gd name="T7" fmla="*/ 0 h 17"/>
                    <a:gd name="T8" fmla="*/ 0 w 62"/>
                    <a:gd name="T9" fmla="*/ 2147483647 h 17"/>
                    <a:gd name="T10" fmla="*/ 2147483647 w 62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2"/>
                    <a:gd name="T19" fmla="*/ 0 h 17"/>
                    <a:gd name="T20" fmla="*/ 62 w 62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2" h="17">
                      <a:moveTo>
                        <a:pt x="35" y="17"/>
                      </a:moveTo>
                      <a:lnTo>
                        <a:pt x="62" y="9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9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4" name="Freeform 209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5" name="Freeform 210"/>
                <p:cNvSpPr>
                  <a:spLocks/>
                </p:cNvSpPr>
                <p:nvPr/>
              </p:nvSpPr>
              <p:spPr bwMode="auto">
                <a:xfrm>
                  <a:off x="4922311" y="1288318"/>
                  <a:ext cx="27853" cy="19276"/>
                </a:xfrm>
                <a:custGeom>
                  <a:avLst/>
                  <a:gdLst>
                    <a:gd name="T0" fmla="*/ 2147483647 w 26"/>
                    <a:gd name="T1" fmla="*/ 0 h 18"/>
                    <a:gd name="T2" fmla="*/ 2147483647 w 26"/>
                    <a:gd name="T3" fmla="*/ 2147483647 h 18"/>
                    <a:gd name="T4" fmla="*/ 0 w 26"/>
                    <a:gd name="T5" fmla="*/ 2147483647 h 18"/>
                    <a:gd name="T6" fmla="*/ 2147483647 w 26"/>
                    <a:gd name="T7" fmla="*/ 2147483647 h 18"/>
                    <a:gd name="T8" fmla="*/ 2147483647 w 26"/>
                    <a:gd name="T9" fmla="*/ 2147483647 h 18"/>
                    <a:gd name="T10" fmla="*/ 2147483647 w 26"/>
                    <a:gd name="T11" fmla="*/ 2147483647 h 18"/>
                    <a:gd name="T12" fmla="*/ 2147483647 w 26"/>
                    <a:gd name="T13" fmla="*/ 0 h 18"/>
                    <a:gd name="T14" fmla="*/ 2147483647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17" y="0"/>
                      </a:moveTo>
                      <a:lnTo>
                        <a:pt x="9" y="9"/>
                      </a:lnTo>
                      <a:lnTo>
                        <a:pt x="0" y="9"/>
                      </a:lnTo>
                      <a:lnTo>
                        <a:pt x="9" y="18"/>
                      </a:lnTo>
                      <a:lnTo>
                        <a:pt x="26" y="18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6" name="Freeform 211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7" name="Freeform 212"/>
                <p:cNvSpPr>
                  <a:spLocks/>
                </p:cNvSpPr>
                <p:nvPr/>
              </p:nvSpPr>
              <p:spPr bwMode="auto">
                <a:xfrm>
                  <a:off x="4950165" y="1297956"/>
                  <a:ext cx="47137" cy="18205"/>
                </a:xfrm>
                <a:custGeom>
                  <a:avLst/>
                  <a:gdLst>
                    <a:gd name="T0" fmla="*/ 0 w 44"/>
                    <a:gd name="T1" fmla="*/ 2147483647 h 17"/>
                    <a:gd name="T2" fmla="*/ 2147483647 w 44"/>
                    <a:gd name="T3" fmla="*/ 2147483647 h 17"/>
                    <a:gd name="T4" fmla="*/ 2147483647 w 44"/>
                    <a:gd name="T5" fmla="*/ 2147483647 h 17"/>
                    <a:gd name="T6" fmla="*/ 2147483647 w 44"/>
                    <a:gd name="T7" fmla="*/ 0 h 17"/>
                    <a:gd name="T8" fmla="*/ 2147483647 w 44"/>
                    <a:gd name="T9" fmla="*/ 0 h 17"/>
                    <a:gd name="T10" fmla="*/ 2147483647 w 44"/>
                    <a:gd name="T11" fmla="*/ 2147483647 h 17"/>
                    <a:gd name="T12" fmla="*/ 0 w 44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17"/>
                    <a:gd name="T23" fmla="*/ 44 w 44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17">
                      <a:moveTo>
                        <a:pt x="0" y="17"/>
                      </a:moveTo>
                      <a:lnTo>
                        <a:pt x="26" y="17"/>
                      </a:lnTo>
                      <a:lnTo>
                        <a:pt x="35" y="9"/>
                      </a:lnTo>
                      <a:lnTo>
                        <a:pt x="44" y="0"/>
                      </a:lnTo>
                      <a:lnTo>
                        <a:pt x="26" y="0"/>
                      </a:lnTo>
                      <a:lnTo>
                        <a:pt x="17" y="9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8" name="Freeform 213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19" name="Freeform 214"/>
                <p:cNvSpPr>
                  <a:spLocks/>
                </p:cNvSpPr>
                <p:nvPr/>
              </p:nvSpPr>
              <p:spPr bwMode="auto">
                <a:xfrm>
                  <a:off x="4809826" y="1297956"/>
                  <a:ext cx="74990" cy="18205"/>
                </a:xfrm>
                <a:custGeom>
                  <a:avLst/>
                  <a:gdLst>
                    <a:gd name="T0" fmla="*/ 2147483647 w 70"/>
                    <a:gd name="T1" fmla="*/ 2147483647 h 17"/>
                    <a:gd name="T2" fmla="*/ 2147483647 w 70"/>
                    <a:gd name="T3" fmla="*/ 2147483647 h 17"/>
                    <a:gd name="T4" fmla="*/ 2147483647 w 70"/>
                    <a:gd name="T5" fmla="*/ 2147483647 h 17"/>
                    <a:gd name="T6" fmla="*/ 2147483647 w 70"/>
                    <a:gd name="T7" fmla="*/ 0 h 17"/>
                    <a:gd name="T8" fmla="*/ 0 w 70"/>
                    <a:gd name="T9" fmla="*/ 2147483647 h 17"/>
                    <a:gd name="T10" fmla="*/ 0 w 70"/>
                    <a:gd name="T11" fmla="*/ 2147483647 h 17"/>
                    <a:gd name="T12" fmla="*/ 2147483647 w 70"/>
                    <a:gd name="T13" fmla="*/ 2147483647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0"/>
                    <a:gd name="T22" fmla="*/ 0 h 17"/>
                    <a:gd name="T23" fmla="*/ 70 w 70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0" h="17">
                      <a:moveTo>
                        <a:pt x="18" y="9"/>
                      </a:moveTo>
                      <a:lnTo>
                        <a:pt x="18" y="17"/>
                      </a:lnTo>
                      <a:lnTo>
                        <a:pt x="70" y="9"/>
                      </a:lnTo>
                      <a:lnTo>
                        <a:pt x="35" y="0"/>
                      </a:lnTo>
                      <a:lnTo>
                        <a:pt x="0" y="9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0" name="Freeform 215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1" name="Freeform 216"/>
                <p:cNvSpPr>
                  <a:spLocks/>
                </p:cNvSpPr>
                <p:nvPr/>
              </p:nvSpPr>
              <p:spPr bwMode="auto">
                <a:xfrm>
                  <a:off x="4968376" y="1409326"/>
                  <a:ext cx="84632" cy="47118"/>
                </a:xfrm>
                <a:custGeom>
                  <a:avLst/>
                  <a:gdLst>
                    <a:gd name="T0" fmla="*/ 2147483647 w 79"/>
                    <a:gd name="T1" fmla="*/ 0 h 44"/>
                    <a:gd name="T2" fmla="*/ 0 w 79"/>
                    <a:gd name="T3" fmla="*/ 2147483647 h 44"/>
                    <a:gd name="T4" fmla="*/ 2147483647 w 79"/>
                    <a:gd name="T5" fmla="*/ 2147483647 h 44"/>
                    <a:gd name="T6" fmla="*/ 2147483647 w 79"/>
                    <a:gd name="T7" fmla="*/ 2147483647 h 44"/>
                    <a:gd name="T8" fmla="*/ 2147483647 w 79"/>
                    <a:gd name="T9" fmla="*/ 2147483647 h 44"/>
                    <a:gd name="T10" fmla="*/ 2147483647 w 79"/>
                    <a:gd name="T11" fmla="*/ 0 h 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9"/>
                    <a:gd name="T19" fmla="*/ 0 h 44"/>
                    <a:gd name="T20" fmla="*/ 79 w 79"/>
                    <a:gd name="T21" fmla="*/ 44 h 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9" h="44">
                      <a:moveTo>
                        <a:pt x="9" y="0"/>
                      </a:moveTo>
                      <a:lnTo>
                        <a:pt x="0" y="27"/>
                      </a:lnTo>
                      <a:lnTo>
                        <a:pt x="18" y="35"/>
                      </a:lnTo>
                      <a:lnTo>
                        <a:pt x="79" y="44"/>
                      </a:lnTo>
                      <a:lnTo>
                        <a:pt x="35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2" name="Freeform 217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3" name="Freeform 218"/>
                <p:cNvSpPr>
                  <a:spLocks/>
                </p:cNvSpPr>
                <p:nvPr/>
              </p:nvSpPr>
              <p:spPr bwMode="auto">
                <a:xfrm>
                  <a:off x="4997302" y="1297956"/>
                  <a:ext cx="36424" cy="9638"/>
                </a:xfrm>
                <a:custGeom>
                  <a:avLst/>
                  <a:gdLst>
                    <a:gd name="T0" fmla="*/ 2147483647 w 34"/>
                    <a:gd name="T1" fmla="*/ 0 h 9"/>
                    <a:gd name="T2" fmla="*/ 2147483647 w 34"/>
                    <a:gd name="T3" fmla="*/ 0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4"/>
                    <a:gd name="T19" fmla="*/ 0 h 9"/>
                    <a:gd name="T20" fmla="*/ 34 w 34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4" h="9">
                      <a:moveTo>
                        <a:pt x="34" y="0"/>
                      </a:moveTo>
                      <a:lnTo>
                        <a:pt x="8" y="0"/>
                      </a:lnTo>
                      <a:lnTo>
                        <a:pt x="0" y="9"/>
                      </a:lnTo>
                      <a:lnTo>
                        <a:pt x="8" y="9"/>
                      </a:lnTo>
                      <a:lnTo>
                        <a:pt x="26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4" name="Freeform 219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5" name="Freeform 220"/>
                <p:cNvSpPr>
                  <a:spLocks/>
                </p:cNvSpPr>
                <p:nvPr/>
              </p:nvSpPr>
              <p:spPr bwMode="auto">
                <a:xfrm>
                  <a:off x="4978018" y="1353641"/>
                  <a:ext cx="149980" cy="55685"/>
                </a:xfrm>
                <a:custGeom>
                  <a:avLst/>
                  <a:gdLst>
                    <a:gd name="T0" fmla="*/ 2147483647 w 140"/>
                    <a:gd name="T1" fmla="*/ 2147483647 h 52"/>
                    <a:gd name="T2" fmla="*/ 2147483647 w 140"/>
                    <a:gd name="T3" fmla="*/ 2147483647 h 52"/>
                    <a:gd name="T4" fmla="*/ 2147483647 w 140"/>
                    <a:gd name="T5" fmla="*/ 2147483647 h 52"/>
                    <a:gd name="T6" fmla="*/ 2147483647 w 140"/>
                    <a:gd name="T7" fmla="*/ 2147483647 h 52"/>
                    <a:gd name="T8" fmla="*/ 2147483647 w 140"/>
                    <a:gd name="T9" fmla="*/ 2147483647 h 52"/>
                    <a:gd name="T10" fmla="*/ 2147483647 w 140"/>
                    <a:gd name="T11" fmla="*/ 0 h 52"/>
                    <a:gd name="T12" fmla="*/ 2147483647 w 140"/>
                    <a:gd name="T13" fmla="*/ 0 h 52"/>
                    <a:gd name="T14" fmla="*/ 2147483647 w 140"/>
                    <a:gd name="T15" fmla="*/ 2147483647 h 52"/>
                    <a:gd name="T16" fmla="*/ 2147483647 w 140"/>
                    <a:gd name="T17" fmla="*/ 0 h 52"/>
                    <a:gd name="T18" fmla="*/ 2147483647 w 140"/>
                    <a:gd name="T19" fmla="*/ 2147483647 h 52"/>
                    <a:gd name="T20" fmla="*/ 2147483647 w 140"/>
                    <a:gd name="T21" fmla="*/ 2147483647 h 52"/>
                    <a:gd name="T22" fmla="*/ 0 w 140"/>
                    <a:gd name="T23" fmla="*/ 2147483647 h 52"/>
                    <a:gd name="T24" fmla="*/ 2147483647 w 140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40"/>
                    <a:gd name="T40" fmla="*/ 0 h 52"/>
                    <a:gd name="T41" fmla="*/ 140 w 140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40" h="52">
                      <a:moveTo>
                        <a:pt x="35" y="52"/>
                      </a:moveTo>
                      <a:lnTo>
                        <a:pt x="44" y="44"/>
                      </a:lnTo>
                      <a:lnTo>
                        <a:pt x="79" y="26"/>
                      </a:lnTo>
                      <a:lnTo>
                        <a:pt x="105" y="26"/>
                      </a:lnTo>
                      <a:lnTo>
                        <a:pt x="140" y="9"/>
                      </a:lnTo>
                      <a:lnTo>
                        <a:pt x="140" y="0"/>
                      </a:lnTo>
                      <a:lnTo>
                        <a:pt x="114" y="0"/>
                      </a:lnTo>
                      <a:lnTo>
                        <a:pt x="105" y="9"/>
                      </a:lnTo>
                      <a:lnTo>
                        <a:pt x="87" y="0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0" y="44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6" name="Freeform 221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7" name="Freeform 222"/>
                <p:cNvSpPr>
                  <a:spLocks/>
                </p:cNvSpPr>
                <p:nvPr/>
              </p:nvSpPr>
              <p:spPr bwMode="auto">
                <a:xfrm>
                  <a:off x="4931953" y="1466082"/>
                  <a:ext cx="46066" cy="27842"/>
                </a:xfrm>
                <a:custGeom>
                  <a:avLst/>
                  <a:gdLst>
                    <a:gd name="T0" fmla="*/ 2147483647 w 43"/>
                    <a:gd name="T1" fmla="*/ 2147483647 h 26"/>
                    <a:gd name="T2" fmla="*/ 2147483647 w 43"/>
                    <a:gd name="T3" fmla="*/ 0 h 26"/>
                    <a:gd name="T4" fmla="*/ 0 w 43"/>
                    <a:gd name="T5" fmla="*/ 2147483647 h 26"/>
                    <a:gd name="T6" fmla="*/ 2147483647 w 43"/>
                    <a:gd name="T7" fmla="*/ 2147483647 h 26"/>
                    <a:gd name="T8" fmla="*/ 2147483647 w 43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26"/>
                    <a:gd name="T17" fmla="*/ 43 w 43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26">
                      <a:moveTo>
                        <a:pt x="43" y="17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26" y="26"/>
                      </a:lnTo>
                      <a:lnTo>
                        <a:pt x="4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8" name="Freeform 223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29" name="Freeform 224"/>
                <p:cNvSpPr>
                  <a:spLocks/>
                </p:cNvSpPr>
                <p:nvPr/>
              </p:nvSpPr>
              <p:spPr bwMode="auto">
                <a:xfrm>
                  <a:off x="5472953" y="1960821"/>
                  <a:ext cx="159622" cy="73890"/>
                </a:xfrm>
                <a:custGeom>
                  <a:avLst/>
                  <a:gdLst>
                    <a:gd name="T0" fmla="*/ 2147483647 w 149"/>
                    <a:gd name="T1" fmla="*/ 2147483647 h 69"/>
                    <a:gd name="T2" fmla="*/ 2147483647 w 149"/>
                    <a:gd name="T3" fmla="*/ 2147483647 h 69"/>
                    <a:gd name="T4" fmla="*/ 2147483647 w 149"/>
                    <a:gd name="T5" fmla="*/ 2147483647 h 69"/>
                    <a:gd name="T6" fmla="*/ 2147483647 w 149"/>
                    <a:gd name="T7" fmla="*/ 2147483647 h 69"/>
                    <a:gd name="T8" fmla="*/ 2147483647 w 149"/>
                    <a:gd name="T9" fmla="*/ 2147483647 h 69"/>
                    <a:gd name="T10" fmla="*/ 0 w 149"/>
                    <a:gd name="T11" fmla="*/ 2147483647 h 69"/>
                    <a:gd name="T12" fmla="*/ 2147483647 w 149"/>
                    <a:gd name="T13" fmla="*/ 2147483647 h 69"/>
                    <a:gd name="T14" fmla="*/ 2147483647 w 149"/>
                    <a:gd name="T15" fmla="*/ 2147483647 h 69"/>
                    <a:gd name="T16" fmla="*/ 2147483647 w 149"/>
                    <a:gd name="T17" fmla="*/ 2147483647 h 69"/>
                    <a:gd name="T18" fmla="*/ 2147483647 w 149"/>
                    <a:gd name="T19" fmla="*/ 2147483647 h 69"/>
                    <a:gd name="T20" fmla="*/ 2147483647 w 149"/>
                    <a:gd name="T21" fmla="*/ 2147483647 h 69"/>
                    <a:gd name="T22" fmla="*/ 2147483647 w 149"/>
                    <a:gd name="T23" fmla="*/ 2147483647 h 69"/>
                    <a:gd name="T24" fmla="*/ 2147483647 w 149"/>
                    <a:gd name="T25" fmla="*/ 2147483647 h 69"/>
                    <a:gd name="T26" fmla="*/ 2147483647 w 149"/>
                    <a:gd name="T27" fmla="*/ 2147483647 h 69"/>
                    <a:gd name="T28" fmla="*/ 2147483647 w 149"/>
                    <a:gd name="T29" fmla="*/ 0 h 69"/>
                    <a:gd name="T30" fmla="*/ 2147483647 w 149"/>
                    <a:gd name="T31" fmla="*/ 0 h 69"/>
                    <a:gd name="T32" fmla="*/ 2147483647 w 149"/>
                    <a:gd name="T33" fmla="*/ 2147483647 h 69"/>
                    <a:gd name="T34" fmla="*/ 2147483647 w 149"/>
                    <a:gd name="T35" fmla="*/ 0 h 69"/>
                    <a:gd name="T36" fmla="*/ 2147483647 w 149"/>
                    <a:gd name="T37" fmla="*/ 2147483647 h 69"/>
                    <a:gd name="T38" fmla="*/ 2147483647 w 149"/>
                    <a:gd name="T39" fmla="*/ 2147483647 h 69"/>
                    <a:gd name="T40" fmla="*/ 2147483647 w 149"/>
                    <a:gd name="T41" fmla="*/ 2147483647 h 69"/>
                    <a:gd name="T42" fmla="*/ 2147483647 w 149"/>
                    <a:gd name="T43" fmla="*/ 2147483647 h 6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9"/>
                    <a:gd name="T67" fmla="*/ 0 h 69"/>
                    <a:gd name="T68" fmla="*/ 149 w 149"/>
                    <a:gd name="T69" fmla="*/ 69 h 6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9" h="69">
                      <a:moveTo>
                        <a:pt x="18" y="26"/>
                      </a:moveTo>
                      <a:lnTo>
                        <a:pt x="35" y="26"/>
                      </a:lnTo>
                      <a:lnTo>
                        <a:pt x="53" y="43"/>
                      </a:lnTo>
                      <a:lnTo>
                        <a:pt x="35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9" y="61"/>
                      </a:lnTo>
                      <a:lnTo>
                        <a:pt x="44" y="69"/>
                      </a:lnTo>
                      <a:lnTo>
                        <a:pt x="79" y="61"/>
                      </a:lnTo>
                      <a:lnTo>
                        <a:pt x="79" y="43"/>
                      </a:lnTo>
                      <a:lnTo>
                        <a:pt x="105" y="43"/>
                      </a:lnTo>
                      <a:lnTo>
                        <a:pt x="114" y="26"/>
                      </a:lnTo>
                      <a:lnTo>
                        <a:pt x="149" y="26"/>
                      </a:lnTo>
                      <a:lnTo>
                        <a:pt x="149" y="8"/>
                      </a:lnTo>
                      <a:lnTo>
                        <a:pt x="131" y="0"/>
                      </a:lnTo>
                      <a:lnTo>
                        <a:pt x="53" y="0"/>
                      </a:lnTo>
                      <a:lnTo>
                        <a:pt x="44" y="8"/>
                      </a:lnTo>
                      <a:lnTo>
                        <a:pt x="18" y="0"/>
                      </a:lnTo>
                      <a:lnTo>
                        <a:pt x="9" y="8"/>
                      </a:lnTo>
                      <a:lnTo>
                        <a:pt x="18" y="8"/>
                      </a:lnTo>
                      <a:lnTo>
                        <a:pt x="9" y="26"/>
                      </a:lnTo>
                      <a:lnTo>
                        <a:pt x="1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0" name="Freeform 225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1" name="Freeform 226"/>
                <p:cNvSpPr>
                  <a:spLocks/>
                </p:cNvSpPr>
                <p:nvPr/>
              </p:nvSpPr>
              <p:spPr bwMode="auto">
                <a:xfrm>
                  <a:off x="5230842" y="1913703"/>
                  <a:ext cx="298889" cy="148851"/>
                </a:xfrm>
                <a:custGeom>
                  <a:avLst/>
                  <a:gdLst>
                    <a:gd name="T0" fmla="*/ 2147483647 w 279"/>
                    <a:gd name="T1" fmla="*/ 2147483647 h 139"/>
                    <a:gd name="T2" fmla="*/ 2147483647 w 279"/>
                    <a:gd name="T3" fmla="*/ 2147483647 h 139"/>
                    <a:gd name="T4" fmla="*/ 2147483647 w 279"/>
                    <a:gd name="T5" fmla="*/ 2147483647 h 139"/>
                    <a:gd name="T6" fmla="*/ 2147483647 w 279"/>
                    <a:gd name="T7" fmla="*/ 2147483647 h 139"/>
                    <a:gd name="T8" fmla="*/ 2147483647 w 279"/>
                    <a:gd name="T9" fmla="*/ 2147483647 h 139"/>
                    <a:gd name="T10" fmla="*/ 2147483647 w 279"/>
                    <a:gd name="T11" fmla="*/ 2147483647 h 139"/>
                    <a:gd name="T12" fmla="*/ 2147483647 w 279"/>
                    <a:gd name="T13" fmla="*/ 2147483647 h 139"/>
                    <a:gd name="T14" fmla="*/ 2147483647 w 279"/>
                    <a:gd name="T15" fmla="*/ 2147483647 h 139"/>
                    <a:gd name="T16" fmla="*/ 2147483647 w 279"/>
                    <a:gd name="T17" fmla="*/ 2147483647 h 139"/>
                    <a:gd name="T18" fmla="*/ 2147483647 w 279"/>
                    <a:gd name="T19" fmla="*/ 2147483647 h 139"/>
                    <a:gd name="T20" fmla="*/ 2147483647 w 279"/>
                    <a:gd name="T21" fmla="*/ 2147483647 h 139"/>
                    <a:gd name="T22" fmla="*/ 2147483647 w 279"/>
                    <a:gd name="T23" fmla="*/ 2147483647 h 139"/>
                    <a:gd name="T24" fmla="*/ 2147483647 w 279"/>
                    <a:gd name="T25" fmla="*/ 2147483647 h 139"/>
                    <a:gd name="T26" fmla="*/ 2147483647 w 279"/>
                    <a:gd name="T27" fmla="*/ 2147483647 h 139"/>
                    <a:gd name="T28" fmla="*/ 2147483647 w 279"/>
                    <a:gd name="T29" fmla="*/ 0 h 139"/>
                    <a:gd name="T30" fmla="*/ 2147483647 w 279"/>
                    <a:gd name="T31" fmla="*/ 2147483647 h 139"/>
                    <a:gd name="T32" fmla="*/ 2147483647 w 279"/>
                    <a:gd name="T33" fmla="*/ 2147483647 h 139"/>
                    <a:gd name="T34" fmla="*/ 2147483647 w 279"/>
                    <a:gd name="T35" fmla="*/ 0 h 139"/>
                    <a:gd name="T36" fmla="*/ 0 w 279"/>
                    <a:gd name="T37" fmla="*/ 0 h 139"/>
                    <a:gd name="T38" fmla="*/ 2147483647 w 279"/>
                    <a:gd name="T39" fmla="*/ 2147483647 h 139"/>
                    <a:gd name="T40" fmla="*/ 2147483647 w 279"/>
                    <a:gd name="T41" fmla="*/ 2147483647 h 139"/>
                    <a:gd name="T42" fmla="*/ 2147483647 w 279"/>
                    <a:gd name="T43" fmla="*/ 2147483647 h 139"/>
                    <a:gd name="T44" fmla="*/ 2147483647 w 279"/>
                    <a:gd name="T45" fmla="*/ 2147483647 h 139"/>
                    <a:gd name="T46" fmla="*/ 2147483647 w 279"/>
                    <a:gd name="T47" fmla="*/ 2147483647 h 139"/>
                    <a:gd name="T48" fmla="*/ 2147483647 w 279"/>
                    <a:gd name="T49" fmla="*/ 2147483647 h 139"/>
                    <a:gd name="T50" fmla="*/ 2147483647 w 279"/>
                    <a:gd name="T51" fmla="*/ 2147483647 h 139"/>
                    <a:gd name="T52" fmla="*/ 2147483647 w 279"/>
                    <a:gd name="T53" fmla="*/ 2147483647 h 139"/>
                    <a:gd name="T54" fmla="*/ 2147483647 w 279"/>
                    <a:gd name="T55" fmla="*/ 2147483647 h 139"/>
                    <a:gd name="T56" fmla="*/ 2147483647 w 279"/>
                    <a:gd name="T57" fmla="*/ 2147483647 h 139"/>
                    <a:gd name="T58" fmla="*/ 2147483647 w 279"/>
                    <a:gd name="T59" fmla="*/ 2147483647 h 139"/>
                    <a:gd name="T60" fmla="*/ 2147483647 w 279"/>
                    <a:gd name="T61" fmla="*/ 2147483647 h 139"/>
                    <a:gd name="T62" fmla="*/ 2147483647 w 279"/>
                    <a:gd name="T63" fmla="*/ 2147483647 h 139"/>
                    <a:gd name="T64" fmla="*/ 2147483647 w 279"/>
                    <a:gd name="T65" fmla="*/ 2147483647 h 139"/>
                    <a:gd name="T66" fmla="*/ 2147483647 w 279"/>
                    <a:gd name="T67" fmla="*/ 2147483647 h 139"/>
                    <a:gd name="T68" fmla="*/ 2147483647 w 279"/>
                    <a:gd name="T69" fmla="*/ 2147483647 h 139"/>
                    <a:gd name="T70" fmla="*/ 2147483647 w 279"/>
                    <a:gd name="T71" fmla="*/ 2147483647 h 139"/>
                    <a:gd name="T72" fmla="*/ 2147483647 w 279"/>
                    <a:gd name="T73" fmla="*/ 2147483647 h 139"/>
                    <a:gd name="T74" fmla="*/ 2147483647 w 279"/>
                    <a:gd name="T75" fmla="*/ 2147483647 h 139"/>
                    <a:gd name="T76" fmla="*/ 2147483647 w 279"/>
                    <a:gd name="T77" fmla="*/ 2147483647 h 139"/>
                    <a:gd name="T78" fmla="*/ 2147483647 w 279"/>
                    <a:gd name="T79" fmla="*/ 2147483647 h 139"/>
                    <a:gd name="T80" fmla="*/ 2147483647 w 279"/>
                    <a:gd name="T81" fmla="*/ 2147483647 h 139"/>
                    <a:gd name="T82" fmla="*/ 2147483647 w 279"/>
                    <a:gd name="T83" fmla="*/ 2147483647 h 13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79"/>
                    <a:gd name="T127" fmla="*/ 0 h 139"/>
                    <a:gd name="T128" fmla="*/ 279 w 279"/>
                    <a:gd name="T129" fmla="*/ 139 h 13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79" h="139">
                      <a:moveTo>
                        <a:pt x="261" y="70"/>
                      </a:moveTo>
                      <a:lnTo>
                        <a:pt x="244" y="70"/>
                      </a:lnTo>
                      <a:lnTo>
                        <a:pt x="235" y="70"/>
                      </a:lnTo>
                      <a:lnTo>
                        <a:pt x="244" y="52"/>
                      </a:lnTo>
                      <a:lnTo>
                        <a:pt x="235" y="52"/>
                      </a:lnTo>
                      <a:lnTo>
                        <a:pt x="218" y="61"/>
                      </a:lnTo>
                      <a:lnTo>
                        <a:pt x="209" y="78"/>
                      </a:lnTo>
                      <a:lnTo>
                        <a:pt x="191" y="70"/>
                      </a:lnTo>
                      <a:lnTo>
                        <a:pt x="174" y="70"/>
                      </a:lnTo>
                      <a:lnTo>
                        <a:pt x="165" y="44"/>
                      </a:lnTo>
                      <a:lnTo>
                        <a:pt x="139" y="26"/>
                      </a:lnTo>
                      <a:lnTo>
                        <a:pt x="130" y="35"/>
                      </a:lnTo>
                      <a:lnTo>
                        <a:pt x="113" y="26"/>
                      </a:lnTo>
                      <a:lnTo>
                        <a:pt x="95" y="26"/>
                      </a:lnTo>
                      <a:lnTo>
                        <a:pt x="43" y="0"/>
                      </a:lnTo>
                      <a:lnTo>
                        <a:pt x="34" y="17"/>
                      </a:lnTo>
                      <a:lnTo>
                        <a:pt x="26" y="17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70"/>
                      </a:lnTo>
                      <a:lnTo>
                        <a:pt x="26" y="70"/>
                      </a:lnTo>
                      <a:lnTo>
                        <a:pt x="26" y="61"/>
                      </a:lnTo>
                      <a:lnTo>
                        <a:pt x="43" y="52"/>
                      </a:lnTo>
                      <a:lnTo>
                        <a:pt x="52" y="44"/>
                      </a:lnTo>
                      <a:lnTo>
                        <a:pt x="69" y="61"/>
                      </a:lnTo>
                      <a:lnTo>
                        <a:pt x="78" y="70"/>
                      </a:lnTo>
                      <a:lnTo>
                        <a:pt x="104" y="78"/>
                      </a:lnTo>
                      <a:lnTo>
                        <a:pt x="130" y="113"/>
                      </a:lnTo>
                      <a:lnTo>
                        <a:pt x="165" y="122"/>
                      </a:lnTo>
                      <a:lnTo>
                        <a:pt x="183" y="139"/>
                      </a:lnTo>
                      <a:lnTo>
                        <a:pt x="209" y="139"/>
                      </a:lnTo>
                      <a:lnTo>
                        <a:pt x="218" y="131"/>
                      </a:lnTo>
                      <a:lnTo>
                        <a:pt x="209" y="113"/>
                      </a:lnTo>
                      <a:lnTo>
                        <a:pt x="200" y="105"/>
                      </a:lnTo>
                      <a:lnTo>
                        <a:pt x="209" y="96"/>
                      </a:lnTo>
                      <a:lnTo>
                        <a:pt x="218" y="96"/>
                      </a:lnTo>
                      <a:lnTo>
                        <a:pt x="218" y="78"/>
                      </a:lnTo>
                      <a:lnTo>
                        <a:pt x="235" y="78"/>
                      </a:lnTo>
                      <a:lnTo>
                        <a:pt x="244" y="87"/>
                      </a:lnTo>
                      <a:lnTo>
                        <a:pt x="261" y="96"/>
                      </a:lnTo>
                      <a:lnTo>
                        <a:pt x="279" y="87"/>
                      </a:lnTo>
                      <a:lnTo>
                        <a:pt x="261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2" name="Freeform 227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3" name="Freeform 228"/>
                <p:cNvSpPr>
                  <a:spLocks/>
                </p:cNvSpPr>
                <p:nvPr/>
              </p:nvSpPr>
              <p:spPr bwMode="auto">
                <a:xfrm>
                  <a:off x="5183705" y="1960821"/>
                  <a:ext cx="243182" cy="139212"/>
                </a:xfrm>
                <a:custGeom>
                  <a:avLst/>
                  <a:gdLst>
                    <a:gd name="T0" fmla="*/ 2147483647 w 227"/>
                    <a:gd name="T1" fmla="*/ 2147483647 h 130"/>
                    <a:gd name="T2" fmla="*/ 2147483647 w 227"/>
                    <a:gd name="T3" fmla="*/ 2147483647 h 130"/>
                    <a:gd name="T4" fmla="*/ 2147483647 w 227"/>
                    <a:gd name="T5" fmla="*/ 2147483647 h 130"/>
                    <a:gd name="T6" fmla="*/ 2147483647 w 227"/>
                    <a:gd name="T7" fmla="*/ 2147483647 h 130"/>
                    <a:gd name="T8" fmla="*/ 2147483647 w 227"/>
                    <a:gd name="T9" fmla="*/ 2147483647 h 130"/>
                    <a:gd name="T10" fmla="*/ 2147483647 w 227"/>
                    <a:gd name="T11" fmla="*/ 2147483647 h 130"/>
                    <a:gd name="T12" fmla="*/ 2147483647 w 227"/>
                    <a:gd name="T13" fmla="*/ 0 h 130"/>
                    <a:gd name="T14" fmla="*/ 2147483647 w 227"/>
                    <a:gd name="T15" fmla="*/ 2147483647 h 130"/>
                    <a:gd name="T16" fmla="*/ 2147483647 w 227"/>
                    <a:gd name="T17" fmla="*/ 2147483647 h 130"/>
                    <a:gd name="T18" fmla="*/ 2147483647 w 227"/>
                    <a:gd name="T19" fmla="*/ 2147483647 h 130"/>
                    <a:gd name="T20" fmla="*/ 2147483647 w 227"/>
                    <a:gd name="T21" fmla="*/ 2147483647 h 130"/>
                    <a:gd name="T22" fmla="*/ 2147483647 w 227"/>
                    <a:gd name="T23" fmla="*/ 2147483647 h 130"/>
                    <a:gd name="T24" fmla="*/ 2147483647 w 227"/>
                    <a:gd name="T25" fmla="*/ 2147483647 h 130"/>
                    <a:gd name="T26" fmla="*/ 0 w 227"/>
                    <a:gd name="T27" fmla="*/ 2147483647 h 130"/>
                    <a:gd name="T28" fmla="*/ 2147483647 w 227"/>
                    <a:gd name="T29" fmla="*/ 2147483647 h 130"/>
                    <a:gd name="T30" fmla="*/ 2147483647 w 227"/>
                    <a:gd name="T31" fmla="*/ 2147483647 h 130"/>
                    <a:gd name="T32" fmla="*/ 2147483647 w 227"/>
                    <a:gd name="T33" fmla="*/ 2147483647 h 130"/>
                    <a:gd name="T34" fmla="*/ 2147483647 w 227"/>
                    <a:gd name="T35" fmla="*/ 2147483647 h 130"/>
                    <a:gd name="T36" fmla="*/ 2147483647 w 227"/>
                    <a:gd name="T37" fmla="*/ 2147483647 h 130"/>
                    <a:gd name="T38" fmla="*/ 2147483647 w 227"/>
                    <a:gd name="T39" fmla="*/ 2147483647 h 130"/>
                    <a:gd name="T40" fmla="*/ 2147483647 w 227"/>
                    <a:gd name="T41" fmla="*/ 2147483647 h 130"/>
                    <a:gd name="T42" fmla="*/ 2147483647 w 227"/>
                    <a:gd name="T43" fmla="*/ 2147483647 h 130"/>
                    <a:gd name="T44" fmla="*/ 2147483647 w 227"/>
                    <a:gd name="T45" fmla="*/ 2147483647 h 130"/>
                    <a:gd name="T46" fmla="*/ 2147483647 w 227"/>
                    <a:gd name="T47" fmla="*/ 2147483647 h 130"/>
                    <a:gd name="T48" fmla="*/ 2147483647 w 227"/>
                    <a:gd name="T49" fmla="*/ 2147483647 h 130"/>
                    <a:gd name="T50" fmla="*/ 2147483647 w 227"/>
                    <a:gd name="T51" fmla="*/ 2147483647 h 1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27"/>
                    <a:gd name="T79" fmla="*/ 0 h 130"/>
                    <a:gd name="T80" fmla="*/ 227 w 227"/>
                    <a:gd name="T81" fmla="*/ 130 h 13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27" h="130">
                      <a:moveTo>
                        <a:pt x="227" y="95"/>
                      </a:moveTo>
                      <a:lnTo>
                        <a:pt x="209" y="78"/>
                      </a:lnTo>
                      <a:lnTo>
                        <a:pt x="174" y="69"/>
                      </a:lnTo>
                      <a:lnTo>
                        <a:pt x="148" y="34"/>
                      </a:lnTo>
                      <a:lnTo>
                        <a:pt x="122" y="26"/>
                      </a:lnTo>
                      <a:lnTo>
                        <a:pt x="113" y="17"/>
                      </a:lnTo>
                      <a:lnTo>
                        <a:pt x="96" y="0"/>
                      </a:lnTo>
                      <a:lnTo>
                        <a:pt x="87" y="8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35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0" y="34"/>
                      </a:lnTo>
                      <a:lnTo>
                        <a:pt x="17" y="43"/>
                      </a:lnTo>
                      <a:lnTo>
                        <a:pt x="9" y="69"/>
                      </a:lnTo>
                      <a:lnTo>
                        <a:pt x="26" y="61"/>
                      </a:lnTo>
                      <a:lnTo>
                        <a:pt x="26" y="78"/>
                      </a:lnTo>
                      <a:lnTo>
                        <a:pt x="44" y="95"/>
                      </a:lnTo>
                      <a:lnTo>
                        <a:pt x="70" y="78"/>
                      </a:lnTo>
                      <a:lnTo>
                        <a:pt x="113" y="78"/>
                      </a:lnTo>
                      <a:lnTo>
                        <a:pt x="166" y="113"/>
                      </a:lnTo>
                      <a:lnTo>
                        <a:pt x="174" y="130"/>
                      </a:lnTo>
                      <a:lnTo>
                        <a:pt x="192" y="130"/>
                      </a:lnTo>
                      <a:lnTo>
                        <a:pt x="209" y="122"/>
                      </a:lnTo>
                      <a:lnTo>
                        <a:pt x="227" y="9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4" name="Freeform 229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5" name="Freeform 230"/>
                <p:cNvSpPr>
                  <a:spLocks/>
                </p:cNvSpPr>
                <p:nvPr/>
              </p:nvSpPr>
              <p:spPr bwMode="auto">
                <a:xfrm>
                  <a:off x="5062650" y="1969388"/>
                  <a:ext cx="83560" cy="65323"/>
                </a:xfrm>
                <a:custGeom>
                  <a:avLst/>
                  <a:gdLst>
                    <a:gd name="T0" fmla="*/ 2147483647 w 78"/>
                    <a:gd name="T1" fmla="*/ 2147483647 h 61"/>
                    <a:gd name="T2" fmla="*/ 2147483647 w 78"/>
                    <a:gd name="T3" fmla="*/ 2147483647 h 61"/>
                    <a:gd name="T4" fmla="*/ 2147483647 w 78"/>
                    <a:gd name="T5" fmla="*/ 0 h 61"/>
                    <a:gd name="T6" fmla="*/ 2147483647 w 78"/>
                    <a:gd name="T7" fmla="*/ 2147483647 h 61"/>
                    <a:gd name="T8" fmla="*/ 2147483647 w 78"/>
                    <a:gd name="T9" fmla="*/ 0 h 61"/>
                    <a:gd name="T10" fmla="*/ 2147483647 w 78"/>
                    <a:gd name="T11" fmla="*/ 2147483647 h 61"/>
                    <a:gd name="T12" fmla="*/ 0 w 78"/>
                    <a:gd name="T13" fmla="*/ 2147483647 h 61"/>
                    <a:gd name="T14" fmla="*/ 2147483647 w 78"/>
                    <a:gd name="T15" fmla="*/ 2147483647 h 61"/>
                    <a:gd name="T16" fmla="*/ 2147483647 w 78"/>
                    <a:gd name="T17" fmla="*/ 2147483647 h 61"/>
                    <a:gd name="T18" fmla="*/ 2147483647 w 78"/>
                    <a:gd name="T19" fmla="*/ 2147483647 h 61"/>
                    <a:gd name="T20" fmla="*/ 2147483647 w 78"/>
                    <a:gd name="T21" fmla="*/ 2147483647 h 61"/>
                    <a:gd name="T22" fmla="*/ 2147483647 w 78"/>
                    <a:gd name="T23" fmla="*/ 2147483647 h 61"/>
                    <a:gd name="T24" fmla="*/ 2147483647 w 78"/>
                    <a:gd name="T25" fmla="*/ 2147483647 h 6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8"/>
                    <a:gd name="T40" fmla="*/ 0 h 61"/>
                    <a:gd name="T41" fmla="*/ 78 w 78"/>
                    <a:gd name="T42" fmla="*/ 61 h 6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8" h="61">
                      <a:moveTo>
                        <a:pt x="69" y="35"/>
                      </a:moveTo>
                      <a:lnTo>
                        <a:pt x="78" y="35"/>
                      </a:lnTo>
                      <a:lnTo>
                        <a:pt x="52" y="0"/>
                      </a:lnTo>
                      <a:lnTo>
                        <a:pt x="43" y="18"/>
                      </a:lnTo>
                      <a:lnTo>
                        <a:pt x="8" y="0"/>
                      </a:lnTo>
                      <a:lnTo>
                        <a:pt x="17" y="18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17" y="53"/>
                      </a:lnTo>
                      <a:lnTo>
                        <a:pt x="35" y="61"/>
                      </a:lnTo>
                      <a:lnTo>
                        <a:pt x="43" y="44"/>
                      </a:lnTo>
                      <a:lnTo>
                        <a:pt x="69" y="44"/>
                      </a:lnTo>
                      <a:lnTo>
                        <a:pt x="6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6" name="Freeform 231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7" name="Freeform 232"/>
                <p:cNvSpPr>
                  <a:spLocks/>
                </p:cNvSpPr>
                <p:nvPr/>
              </p:nvSpPr>
              <p:spPr bwMode="auto">
                <a:xfrm>
                  <a:off x="4987660" y="1941546"/>
                  <a:ext cx="93202" cy="47118"/>
                </a:xfrm>
                <a:custGeom>
                  <a:avLst/>
                  <a:gdLst>
                    <a:gd name="T0" fmla="*/ 2147483647 w 87"/>
                    <a:gd name="T1" fmla="*/ 0 h 44"/>
                    <a:gd name="T2" fmla="*/ 2147483647 w 87"/>
                    <a:gd name="T3" fmla="*/ 2147483647 h 44"/>
                    <a:gd name="T4" fmla="*/ 0 w 87"/>
                    <a:gd name="T5" fmla="*/ 2147483647 h 44"/>
                    <a:gd name="T6" fmla="*/ 2147483647 w 87"/>
                    <a:gd name="T7" fmla="*/ 2147483647 h 44"/>
                    <a:gd name="T8" fmla="*/ 2147483647 w 87"/>
                    <a:gd name="T9" fmla="*/ 2147483647 h 44"/>
                    <a:gd name="T10" fmla="*/ 2147483647 w 87"/>
                    <a:gd name="T11" fmla="*/ 2147483647 h 44"/>
                    <a:gd name="T12" fmla="*/ 2147483647 w 87"/>
                    <a:gd name="T13" fmla="*/ 2147483647 h 44"/>
                    <a:gd name="T14" fmla="*/ 2147483647 w 87"/>
                    <a:gd name="T15" fmla="*/ 2147483647 h 44"/>
                    <a:gd name="T16" fmla="*/ 2147483647 w 87"/>
                    <a:gd name="T17" fmla="*/ 2147483647 h 44"/>
                    <a:gd name="T18" fmla="*/ 2147483647 w 87"/>
                    <a:gd name="T19" fmla="*/ 2147483647 h 44"/>
                    <a:gd name="T20" fmla="*/ 2147483647 w 87"/>
                    <a:gd name="T21" fmla="*/ 0 h 4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7"/>
                    <a:gd name="T34" fmla="*/ 0 h 44"/>
                    <a:gd name="T35" fmla="*/ 87 w 87"/>
                    <a:gd name="T36" fmla="*/ 44 h 4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7" h="44">
                      <a:moveTo>
                        <a:pt x="26" y="0"/>
                      </a:moveTo>
                      <a:lnTo>
                        <a:pt x="17" y="9"/>
                      </a:lnTo>
                      <a:lnTo>
                        <a:pt x="0" y="9"/>
                      </a:lnTo>
                      <a:lnTo>
                        <a:pt x="17" y="35"/>
                      </a:lnTo>
                      <a:lnTo>
                        <a:pt x="61" y="44"/>
                      </a:lnTo>
                      <a:lnTo>
                        <a:pt x="70" y="44"/>
                      </a:lnTo>
                      <a:lnTo>
                        <a:pt x="87" y="44"/>
                      </a:lnTo>
                      <a:lnTo>
                        <a:pt x="78" y="26"/>
                      </a:lnTo>
                      <a:lnTo>
                        <a:pt x="61" y="18"/>
                      </a:lnTo>
                      <a:lnTo>
                        <a:pt x="52" y="18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8" name="Freeform 233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9" name="Freeform 234"/>
                <p:cNvSpPr>
                  <a:spLocks/>
                </p:cNvSpPr>
                <p:nvPr/>
              </p:nvSpPr>
              <p:spPr bwMode="auto">
                <a:xfrm>
                  <a:off x="5053008" y="1988664"/>
                  <a:ext cx="27853" cy="37481"/>
                </a:xfrm>
                <a:custGeom>
                  <a:avLst/>
                  <a:gdLst>
                    <a:gd name="T0" fmla="*/ 2147483647 w 26"/>
                    <a:gd name="T1" fmla="*/ 0 h 35"/>
                    <a:gd name="T2" fmla="*/ 0 w 26"/>
                    <a:gd name="T3" fmla="*/ 0 h 35"/>
                    <a:gd name="T4" fmla="*/ 0 w 26"/>
                    <a:gd name="T5" fmla="*/ 2147483647 h 35"/>
                    <a:gd name="T6" fmla="*/ 2147483647 w 26"/>
                    <a:gd name="T7" fmla="*/ 2147483647 h 35"/>
                    <a:gd name="T8" fmla="*/ 2147483647 w 26"/>
                    <a:gd name="T9" fmla="*/ 2147483647 h 35"/>
                    <a:gd name="T10" fmla="*/ 2147483647 w 26"/>
                    <a:gd name="T11" fmla="*/ 2147483647 h 35"/>
                    <a:gd name="T12" fmla="*/ 2147483647 w 26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35"/>
                    <a:gd name="T23" fmla="*/ 26 w 26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35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9" y="26"/>
                      </a:lnTo>
                      <a:lnTo>
                        <a:pt x="26" y="35"/>
                      </a:lnTo>
                      <a:lnTo>
                        <a:pt x="26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0" name="Freeform 235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1" name="Freeform 236"/>
                <p:cNvSpPr>
                  <a:spLocks/>
                </p:cNvSpPr>
                <p:nvPr/>
              </p:nvSpPr>
              <p:spPr bwMode="auto">
                <a:xfrm>
                  <a:off x="4744478" y="1969388"/>
                  <a:ext cx="336384" cy="122079"/>
                </a:xfrm>
                <a:custGeom>
                  <a:avLst/>
                  <a:gdLst>
                    <a:gd name="T0" fmla="*/ 2147483647 w 314"/>
                    <a:gd name="T1" fmla="*/ 2147483647 h 114"/>
                    <a:gd name="T2" fmla="*/ 2147483647 w 314"/>
                    <a:gd name="T3" fmla="*/ 2147483647 h 114"/>
                    <a:gd name="T4" fmla="*/ 2147483647 w 314"/>
                    <a:gd name="T5" fmla="*/ 2147483647 h 114"/>
                    <a:gd name="T6" fmla="*/ 2147483647 w 314"/>
                    <a:gd name="T7" fmla="*/ 2147483647 h 114"/>
                    <a:gd name="T8" fmla="*/ 2147483647 w 314"/>
                    <a:gd name="T9" fmla="*/ 2147483647 h 114"/>
                    <a:gd name="T10" fmla="*/ 2147483647 w 314"/>
                    <a:gd name="T11" fmla="*/ 2147483647 h 114"/>
                    <a:gd name="T12" fmla="*/ 2147483647 w 314"/>
                    <a:gd name="T13" fmla="*/ 0 h 114"/>
                    <a:gd name="T14" fmla="*/ 2147483647 w 314"/>
                    <a:gd name="T15" fmla="*/ 0 h 114"/>
                    <a:gd name="T16" fmla="*/ 2147483647 w 314"/>
                    <a:gd name="T17" fmla="*/ 2147483647 h 114"/>
                    <a:gd name="T18" fmla="*/ 2147483647 w 314"/>
                    <a:gd name="T19" fmla="*/ 2147483647 h 114"/>
                    <a:gd name="T20" fmla="*/ 2147483647 w 314"/>
                    <a:gd name="T21" fmla="*/ 2147483647 h 114"/>
                    <a:gd name="T22" fmla="*/ 0 w 314"/>
                    <a:gd name="T23" fmla="*/ 2147483647 h 114"/>
                    <a:gd name="T24" fmla="*/ 0 w 314"/>
                    <a:gd name="T25" fmla="*/ 2147483647 h 114"/>
                    <a:gd name="T26" fmla="*/ 2147483647 w 314"/>
                    <a:gd name="T27" fmla="*/ 2147483647 h 114"/>
                    <a:gd name="T28" fmla="*/ 0 w 314"/>
                    <a:gd name="T29" fmla="*/ 2147483647 h 114"/>
                    <a:gd name="T30" fmla="*/ 2147483647 w 314"/>
                    <a:gd name="T31" fmla="*/ 2147483647 h 114"/>
                    <a:gd name="T32" fmla="*/ 2147483647 w 314"/>
                    <a:gd name="T33" fmla="*/ 2147483647 h 114"/>
                    <a:gd name="T34" fmla="*/ 2147483647 w 314"/>
                    <a:gd name="T35" fmla="*/ 2147483647 h 114"/>
                    <a:gd name="T36" fmla="*/ 2147483647 w 314"/>
                    <a:gd name="T37" fmla="*/ 2147483647 h 114"/>
                    <a:gd name="T38" fmla="*/ 2147483647 w 314"/>
                    <a:gd name="T39" fmla="*/ 2147483647 h 114"/>
                    <a:gd name="T40" fmla="*/ 2147483647 w 314"/>
                    <a:gd name="T41" fmla="*/ 2147483647 h 114"/>
                    <a:gd name="T42" fmla="*/ 2147483647 w 314"/>
                    <a:gd name="T43" fmla="*/ 2147483647 h 114"/>
                    <a:gd name="T44" fmla="*/ 2147483647 w 314"/>
                    <a:gd name="T45" fmla="*/ 2147483647 h 114"/>
                    <a:gd name="T46" fmla="*/ 2147483647 w 314"/>
                    <a:gd name="T47" fmla="*/ 2147483647 h 114"/>
                    <a:gd name="T48" fmla="*/ 2147483647 w 314"/>
                    <a:gd name="T49" fmla="*/ 2147483647 h 114"/>
                    <a:gd name="T50" fmla="*/ 2147483647 w 314"/>
                    <a:gd name="T51" fmla="*/ 2147483647 h 114"/>
                    <a:gd name="T52" fmla="*/ 2147483647 w 314"/>
                    <a:gd name="T53" fmla="*/ 2147483647 h 114"/>
                    <a:gd name="T54" fmla="*/ 2147483647 w 314"/>
                    <a:gd name="T55" fmla="*/ 2147483647 h 114"/>
                    <a:gd name="T56" fmla="*/ 2147483647 w 314"/>
                    <a:gd name="T57" fmla="*/ 2147483647 h 114"/>
                    <a:gd name="T58" fmla="*/ 2147483647 w 314"/>
                    <a:gd name="T59" fmla="*/ 2147483647 h 11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314"/>
                    <a:gd name="T91" fmla="*/ 0 h 114"/>
                    <a:gd name="T92" fmla="*/ 314 w 314"/>
                    <a:gd name="T93" fmla="*/ 114 h 11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314" h="114">
                      <a:moveTo>
                        <a:pt x="297" y="44"/>
                      </a:moveTo>
                      <a:lnTo>
                        <a:pt x="288" y="35"/>
                      </a:lnTo>
                      <a:lnTo>
                        <a:pt x="288" y="18"/>
                      </a:lnTo>
                      <a:lnTo>
                        <a:pt x="244" y="9"/>
                      </a:lnTo>
                      <a:lnTo>
                        <a:pt x="183" y="26"/>
                      </a:lnTo>
                      <a:lnTo>
                        <a:pt x="175" y="18"/>
                      </a:lnTo>
                      <a:lnTo>
                        <a:pt x="131" y="0"/>
                      </a:lnTo>
                      <a:lnTo>
                        <a:pt x="96" y="0"/>
                      </a:lnTo>
                      <a:lnTo>
                        <a:pt x="70" y="18"/>
                      </a:lnTo>
                      <a:lnTo>
                        <a:pt x="44" y="18"/>
                      </a:lnTo>
                      <a:lnTo>
                        <a:pt x="44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18" y="70"/>
                      </a:lnTo>
                      <a:lnTo>
                        <a:pt x="18" y="87"/>
                      </a:lnTo>
                      <a:lnTo>
                        <a:pt x="26" y="87"/>
                      </a:lnTo>
                      <a:lnTo>
                        <a:pt x="35" y="96"/>
                      </a:lnTo>
                      <a:lnTo>
                        <a:pt x="70" y="114"/>
                      </a:lnTo>
                      <a:lnTo>
                        <a:pt x="87" y="105"/>
                      </a:lnTo>
                      <a:lnTo>
                        <a:pt x="79" y="105"/>
                      </a:lnTo>
                      <a:lnTo>
                        <a:pt x="96" y="105"/>
                      </a:lnTo>
                      <a:lnTo>
                        <a:pt x="114" y="114"/>
                      </a:lnTo>
                      <a:lnTo>
                        <a:pt x="166" y="105"/>
                      </a:lnTo>
                      <a:lnTo>
                        <a:pt x="166" y="114"/>
                      </a:lnTo>
                      <a:lnTo>
                        <a:pt x="192" y="105"/>
                      </a:lnTo>
                      <a:lnTo>
                        <a:pt x="279" y="87"/>
                      </a:lnTo>
                      <a:lnTo>
                        <a:pt x="314" y="96"/>
                      </a:lnTo>
                      <a:lnTo>
                        <a:pt x="297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2" name="Freeform 237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3" name="Freeform 238"/>
                <p:cNvSpPr>
                  <a:spLocks/>
                </p:cNvSpPr>
                <p:nvPr/>
              </p:nvSpPr>
              <p:spPr bwMode="auto">
                <a:xfrm>
                  <a:off x="4726266" y="1969388"/>
                  <a:ext cx="65349" cy="27842"/>
                </a:xfrm>
                <a:custGeom>
                  <a:avLst/>
                  <a:gdLst>
                    <a:gd name="T0" fmla="*/ 2147483647 w 61"/>
                    <a:gd name="T1" fmla="*/ 2147483647 h 26"/>
                    <a:gd name="T2" fmla="*/ 0 w 61"/>
                    <a:gd name="T3" fmla="*/ 2147483647 h 26"/>
                    <a:gd name="T4" fmla="*/ 2147483647 w 61"/>
                    <a:gd name="T5" fmla="*/ 2147483647 h 26"/>
                    <a:gd name="T6" fmla="*/ 2147483647 w 61"/>
                    <a:gd name="T7" fmla="*/ 2147483647 h 26"/>
                    <a:gd name="T8" fmla="*/ 2147483647 w 61"/>
                    <a:gd name="T9" fmla="*/ 0 h 26"/>
                    <a:gd name="T10" fmla="*/ 2147483647 w 61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1"/>
                    <a:gd name="T19" fmla="*/ 0 h 26"/>
                    <a:gd name="T20" fmla="*/ 61 w 61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1" h="26">
                      <a:moveTo>
                        <a:pt x="8" y="18"/>
                      </a:move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4" name="Freeform 239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5" name="Freeform 240"/>
                <p:cNvSpPr>
                  <a:spLocks/>
                </p:cNvSpPr>
                <p:nvPr/>
              </p:nvSpPr>
              <p:spPr bwMode="auto">
                <a:xfrm>
                  <a:off x="4604139" y="1466082"/>
                  <a:ext cx="159622" cy="168126"/>
                </a:xfrm>
                <a:custGeom>
                  <a:avLst/>
                  <a:gdLst>
                    <a:gd name="T0" fmla="*/ 2147483647 w 149"/>
                    <a:gd name="T1" fmla="*/ 0 h 157"/>
                    <a:gd name="T2" fmla="*/ 2147483647 w 149"/>
                    <a:gd name="T3" fmla="*/ 0 h 157"/>
                    <a:gd name="T4" fmla="*/ 2147483647 w 149"/>
                    <a:gd name="T5" fmla="*/ 2147483647 h 157"/>
                    <a:gd name="T6" fmla="*/ 2147483647 w 149"/>
                    <a:gd name="T7" fmla="*/ 2147483647 h 157"/>
                    <a:gd name="T8" fmla="*/ 2147483647 w 149"/>
                    <a:gd name="T9" fmla="*/ 2147483647 h 157"/>
                    <a:gd name="T10" fmla="*/ 2147483647 w 149"/>
                    <a:gd name="T11" fmla="*/ 2147483647 h 157"/>
                    <a:gd name="T12" fmla="*/ 0 w 149"/>
                    <a:gd name="T13" fmla="*/ 2147483647 h 157"/>
                    <a:gd name="T14" fmla="*/ 2147483647 w 149"/>
                    <a:gd name="T15" fmla="*/ 2147483647 h 157"/>
                    <a:gd name="T16" fmla="*/ 2147483647 w 149"/>
                    <a:gd name="T17" fmla="*/ 2147483647 h 157"/>
                    <a:gd name="T18" fmla="*/ 2147483647 w 149"/>
                    <a:gd name="T19" fmla="*/ 2147483647 h 157"/>
                    <a:gd name="T20" fmla="*/ 2147483647 w 149"/>
                    <a:gd name="T21" fmla="*/ 2147483647 h 157"/>
                    <a:gd name="T22" fmla="*/ 2147483647 w 149"/>
                    <a:gd name="T23" fmla="*/ 2147483647 h 157"/>
                    <a:gd name="T24" fmla="*/ 2147483647 w 149"/>
                    <a:gd name="T25" fmla="*/ 2147483647 h 157"/>
                    <a:gd name="T26" fmla="*/ 2147483647 w 149"/>
                    <a:gd name="T27" fmla="*/ 2147483647 h 157"/>
                    <a:gd name="T28" fmla="*/ 2147483647 w 149"/>
                    <a:gd name="T29" fmla="*/ 2147483647 h 157"/>
                    <a:gd name="T30" fmla="*/ 2147483647 w 149"/>
                    <a:gd name="T31" fmla="*/ 2147483647 h 157"/>
                    <a:gd name="T32" fmla="*/ 2147483647 w 149"/>
                    <a:gd name="T33" fmla="*/ 2147483647 h 157"/>
                    <a:gd name="T34" fmla="*/ 2147483647 w 149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49"/>
                    <a:gd name="T55" fmla="*/ 0 h 157"/>
                    <a:gd name="T56" fmla="*/ 149 w 149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49" h="157">
                      <a:moveTo>
                        <a:pt x="70" y="0"/>
                      </a:moveTo>
                      <a:lnTo>
                        <a:pt x="53" y="0"/>
                      </a:lnTo>
                      <a:lnTo>
                        <a:pt x="53" y="17"/>
                      </a:lnTo>
                      <a:lnTo>
                        <a:pt x="18" y="26"/>
                      </a:lnTo>
                      <a:lnTo>
                        <a:pt x="35" y="69"/>
                      </a:lnTo>
                      <a:lnTo>
                        <a:pt x="35" y="87"/>
                      </a:lnTo>
                      <a:lnTo>
                        <a:pt x="0" y="122"/>
                      </a:lnTo>
                      <a:lnTo>
                        <a:pt x="18" y="139"/>
                      </a:lnTo>
                      <a:lnTo>
                        <a:pt x="9" y="148"/>
                      </a:lnTo>
                      <a:lnTo>
                        <a:pt x="79" y="157"/>
                      </a:lnTo>
                      <a:lnTo>
                        <a:pt x="79" y="148"/>
                      </a:lnTo>
                      <a:lnTo>
                        <a:pt x="105" y="148"/>
                      </a:lnTo>
                      <a:lnTo>
                        <a:pt x="149" y="113"/>
                      </a:lnTo>
                      <a:lnTo>
                        <a:pt x="105" y="52"/>
                      </a:lnTo>
                      <a:lnTo>
                        <a:pt x="105" y="35"/>
                      </a:lnTo>
                      <a:lnTo>
                        <a:pt x="88" y="26"/>
                      </a:lnTo>
                      <a:lnTo>
                        <a:pt x="96" y="17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6" name="Freeform 241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7" name="Freeform 242"/>
                <p:cNvSpPr>
                  <a:spLocks/>
                </p:cNvSpPr>
                <p:nvPr/>
              </p:nvSpPr>
              <p:spPr bwMode="auto">
                <a:xfrm>
                  <a:off x="4483084" y="1484287"/>
                  <a:ext cx="158550" cy="243087"/>
                </a:xfrm>
                <a:custGeom>
                  <a:avLst/>
                  <a:gdLst>
                    <a:gd name="T0" fmla="*/ 2147483647 w 148"/>
                    <a:gd name="T1" fmla="*/ 2147483647 h 227"/>
                    <a:gd name="T2" fmla="*/ 2147483647 w 148"/>
                    <a:gd name="T3" fmla="*/ 2147483647 h 227"/>
                    <a:gd name="T4" fmla="*/ 2147483647 w 148"/>
                    <a:gd name="T5" fmla="*/ 2147483647 h 227"/>
                    <a:gd name="T6" fmla="*/ 2147483647 w 148"/>
                    <a:gd name="T7" fmla="*/ 2147483647 h 227"/>
                    <a:gd name="T8" fmla="*/ 2147483647 w 148"/>
                    <a:gd name="T9" fmla="*/ 0 h 227"/>
                    <a:gd name="T10" fmla="*/ 2147483647 w 148"/>
                    <a:gd name="T11" fmla="*/ 2147483647 h 227"/>
                    <a:gd name="T12" fmla="*/ 2147483647 w 148"/>
                    <a:gd name="T13" fmla="*/ 2147483647 h 227"/>
                    <a:gd name="T14" fmla="*/ 2147483647 w 148"/>
                    <a:gd name="T15" fmla="*/ 2147483647 h 227"/>
                    <a:gd name="T16" fmla="*/ 2147483647 w 148"/>
                    <a:gd name="T17" fmla="*/ 2147483647 h 227"/>
                    <a:gd name="T18" fmla="*/ 2147483647 w 148"/>
                    <a:gd name="T19" fmla="*/ 2147483647 h 227"/>
                    <a:gd name="T20" fmla="*/ 2147483647 w 148"/>
                    <a:gd name="T21" fmla="*/ 2147483647 h 227"/>
                    <a:gd name="T22" fmla="*/ 2147483647 w 148"/>
                    <a:gd name="T23" fmla="*/ 2147483647 h 227"/>
                    <a:gd name="T24" fmla="*/ 0 w 148"/>
                    <a:gd name="T25" fmla="*/ 2147483647 h 227"/>
                    <a:gd name="T26" fmla="*/ 2147483647 w 148"/>
                    <a:gd name="T27" fmla="*/ 2147483647 h 227"/>
                    <a:gd name="T28" fmla="*/ 2147483647 w 148"/>
                    <a:gd name="T29" fmla="*/ 2147483647 h 227"/>
                    <a:gd name="T30" fmla="*/ 2147483647 w 148"/>
                    <a:gd name="T31" fmla="*/ 2147483647 h 227"/>
                    <a:gd name="T32" fmla="*/ 2147483647 w 148"/>
                    <a:gd name="T33" fmla="*/ 2147483647 h 227"/>
                    <a:gd name="T34" fmla="*/ 2147483647 w 148"/>
                    <a:gd name="T35" fmla="*/ 2147483647 h 227"/>
                    <a:gd name="T36" fmla="*/ 2147483647 w 148"/>
                    <a:gd name="T37" fmla="*/ 2147483647 h 227"/>
                    <a:gd name="T38" fmla="*/ 2147483647 w 148"/>
                    <a:gd name="T39" fmla="*/ 2147483647 h 227"/>
                    <a:gd name="T40" fmla="*/ 2147483647 w 148"/>
                    <a:gd name="T41" fmla="*/ 2147483647 h 227"/>
                    <a:gd name="T42" fmla="*/ 2147483647 w 148"/>
                    <a:gd name="T43" fmla="*/ 2147483647 h 227"/>
                    <a:gd name="T44" fmla="*/ 2147483647 w 148"/>
                    <a:gd name="T45" fmla="*/ 2147483647 h 227"/>
                    <a:gd name="T46" fmla="*/ 2147483647 w 148"/>
                    <a:gd name="T47" fmla="*/ 2147483647 h 227"/>
                    <a:gd name="T48" fmla="*/ 2147483647 w 148"/>
                    <a:gd name="T49" fmla="*/ 2147483647 h 22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8"/>
                    <a:gd name="T76" fmla="*/ 0 h 227"/>
                    <a:gd name="T77" fmla="*/ 148 w 148"/>
                    <a:gd name="T78" fmla="*/ 227 h 22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8" h="227">
                      <a:moveTo>
                        <a:pt x="113" y="70"/>
                      </a:moveTo>
                      <a:lnTo>
                        <a:pt x="122" y="52"/>
                      </a:lnTo>
                      <a:lnTo>
                        <a:pt x="148" y="52"/>
                      </a:lnTo>
                      <a:lnTo>
                        <a:pt x="131" y="9"/>
                      </a:lnTo>
                      <a:lnTo>
                        <a:pt x="113" y="0"/>
                      </a:lnTo>
                      <a:lnTo>
                        <a:pt x="70" y="9"/>
                      </a:lnTo>
                      <a:lnTo>
                        <a:pt x="35" y="52"/>
                      </a:lnTo>
                      <a:lnTo>
                        <a:pt x="35" y="79"/>
                      </a:lnTo>
                      <a:lnTo>
                        <a:pt x="17" y="79"/>
                      </a:lnTo>
                      <a:lnTo>
                        <a:pt x="9" y="105"/>
                      </a:lnTo>
                      <a:lnTo>
                        <a:pt x="17" y="122"/>
                      </a:lnTo>
                      <a:lnTo>
                        <a:pt x="9" y="148"/>
                      </a:lnTo>
                      <a:lnTo>
                        <a:pt x="0" y="166"/>
                      </a:lnTo>
                      <a:lnTo>
                        <a:pt x="9" y="174"/>
                      </a:lnTo>
                      <a:lnTo>
                        <a:pt x="17" y="218"/>
                      </a:lnTo>
                      <a:lnTo>
                        <a:pt x="44" y="227"/>
                      </a:lnTo>
                      <a:lnTo>
                        <a:pt x="44" y="209"/>
                      </a:lnTo>
                      <a:lnTo>
                        <a:pt x="61" y="209"/>
                      </a:lnTo>
                      <a:lnTo>
                        <a:pt x="79" y="183"/>
                      </a:lnTo>
                      <a:lnTo>
                        <a:pt x="79" y="166"/>
                      </a:lnTo>
                      <a:lnTo>
                        <a:pt x="87" y="157"/>
                      </a:lnTo>
                      <a:lnTo>
                        <a:pt x="87" y="140"/>
                      </a:lnTo>
                      <a:lnTo>
                        <a:pt x="70" y="131"/>
                      </a:lnTo>
                      <a:lnTo>
                        <a:pt x="61" y="105"/>
                      </a:lnTo>
                      <a:lnTo>
                        <a:pt x="113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8" name="Freeform 243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9" name="Freeform 244"/>
                <p:cNvSpPr>
                  <a:spLocks/>
                </p:cNvSpPr>
                <p:nvPr/>
              </p:nvSpPr>
              <p:spPr bwMode="auto">
                <a:xfrm>
                  <a:off x="4576285" y="1670617"/>
                  <a:ext cx="9642" cy="19276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0 h 18"/>
                    <a:gd name="T4" fmla="*/ 0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8"/>
                    <a:gd name="T17" fmla="*/ 9 w 9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0" name="Freeform 245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1" name="Freeform 246"/>
                <p:cNvSpPr>
                  <a:spLocks/>
                </p:cNvSpPr>
                <p:nvPr/>
              </p:nvSpPr>
              <p:spPr bwMode="auto">
                <a:xfrm>
                  <a:off x="4641634" y="1642775"/>
                  <a:ext cx="84632" cy="37481"/>
                </a:xfrm>
                <a:custGeom>
                  <a:avLst/>
                  <a:gdLst>
                    <a:gd name="T0" fmla="*/ 2147483647 w 79"/>
                    <a:gd name="T1" fmla="*/ 2147483647 h 35"/>
                    <a:gd name="T2" fmla="*/ 2147483647 w 79"/>
                    <a:gd name="T3" fmla="*/ 0 h 35"/>
                    <a:gd name="T4" fmla="*/ 2147483647 w 79"/>
                    <a:gd name="T5" fmla="*/ 0 h 35"/>
                    <a:gd name="T6" fmla="*/ 0 w 79"/>
                    <a:gd name="T7" fmla="*/ 2147483647 h 35"/>
                    <a:gd name="T8" fmla="*/ 2147483647 w 79"/>
                    <a:gd name="T9" fmla="*/ 2147483647 h 35"/>
                    <a:gd name="T10" fmla="*/ 2147483647 w 79"/>
                    <a:gd name="T11" fmla="*/ 2147483647 h 35"/>
                    <a:gd name="T12" fmla="*/ 2147483647 w 79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9"/>
                    <a:gd name="T22" fmla="*/ 0 h 35"/>
                    <a:gd name="T23" fmla="*/ 79 w 79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9" h="35">
                      <a:moveTo>
                        <a:pt x="79" y="9"/>
                      </a:moveTo>
                      <a:lnTo>
                        <a:pt x="61" y="0"/>
                      </a:lnTo>
                      <a:lnTo>
                        <a:pt x="18" y="0"/>
                      </a:lnTo>
                      <a:lnTo>
                        <a:pt x="0" y="18"/>
                      </a:lnTo>
                      <a:lnTo>
                        <a:pt x="26" y="26"/>
                      </a:lnTo>
                      <a:lnTo>
                        <a:pt x="79" y="35"/>
                      </a:lnTo>
                      <a:lnTo>
                        <a:pt x="7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2" name="Freeform 247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3" name="Freeform 248"/>
                <p:cNvSpPr>
                  <a:spLocks/>
                </p:cNvSpPr>
                <p:nvPr/>
              </p:nvSpPr>
              <p:spPr bwMode="auto">
                <a:xfrm>
                  <a:off x="4633064" y="1670617"/>
                  <a:ext cx="111414" cy="37481"/>
                </a:xfrm>
                <a:custGeom>
                  <a:avLst/>
                  <a:gdLst>
                    <a:gd name="T0" fmla="*/ 0 w 104"/>
                    <a:gd name="T1" fmla="*/ 2147483647 h 35"/>
                    <a:gd name="T2" fmla="*/ 0 w 104"/>
                    <a:gd name="T3" fmla="*/ 2147483647 h 35"/>
                    <a:gd name="T4" fmla="*/ 2147483647 w 104"/>
                    <a:gd name="T5" fmla="*/ 2147483647 h 35"/>
                    <a:gd name="T6" fmla="*/ 2147483647 w 104"/>
                    <a:gd name="T7" fmla="*/ 2147483647 h 35"/>
                    <a:gd name="T8" fmla="*/ 2147483647 w 104"/>
                    <a:gd name="T9" fmla="*/ 2147483647 h 35"/>
                    <a:gd name="T10" fmla="*/ 2147483647 w 104"/>
                    <a:gd name="T11" fmla="*/ 2147483647 h 35"/>
                    <a:gd name="T12" fmla="*/ 2147483647 w 104"/>
                    <a:gd name="T13" fmla="*/ 0 h 35"/>
                    <a:gd name="T14" fmla="*/ 2147483647 w 104"/>
                    <a:gd name="T15" fmla="*/ 2147483647 h 35"/>
                    <a:gd name="T16" fmla="*/ 2147483647 w 104"/>
                    <a:gd name="T17" fmla="*/ 0 h 35"/>
                    <a:gd name="T18" fmla="*/ 0 w 104"/>
                    <a:gd name="T19" fmla="*/ 2147483647 h 3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35"/>
                    <a:gd name="T32" fmla="*/ 104 w 104"/>
                    <a:gd name="T33" fmla="*/ 35 h 3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35">
                      <a:moveTo>
                        <a:pt x="0" y="18"/>
                      </a:moveTo>
                      <a:lnTo>
                        <a:pt x="0" y="35"/>
                      </a:lnTo>
                      <a:lnTo>
                        <a:pt x="34" y="27"/>
                      </a:lnTo>
                      <a:lnTo>
                        <a:pt x="87" y="35"/>
                      </a:lnTo>
                      <a:lnTo>
                        <a:pt x="104" y="27"/>
                      </a:lnTo>
                      <a:lnTo>
                        <a:pt x="87" y="9"/>
                      </a:lnTo>
                      <a:lnTo>
                        <a:pt x="34" y="0"/>
                      </a:lnTo>
                      <a:lnTo>
                        <a:pt x="26" y="18"/>
                      </a:lnTo>
                      <a:lnTo>
                        <a:pt x="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4" name="Freeform 249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5" name="Freeform 250"/>
                <p:cNvSpPr>
                  <a:spLocks/>
                </p:cNvSpPr>
                <p:nvPr/>
              </p:nvSpPr>
              <p:spPr bwMode="auto">
                <a:xfrm>
                  <a:off x="4633064" y="1699530"/>
                  <a:ext cx="93202" cy="46048"/>
                </a:xfrm>
                <a:custGeom>
                  <a:avLst/>
                  <a:gdLst>
                    <a:gd name="T0" fmla="*/ 0 w 87"/>
                    <a:gd name="T1" fmla="*/ 2147483647 h 43"/>
                    <a:gd name="T2" fmla="*/ 0 w 87"/>
                    <a:gd name="T3" fmla="*/ 2147483647 h 43"/>
                    <a:gd name="T4" fmla="*/ 2147483647 w 87"/>
                    <a:gd name="T5" fmla="*/ 2147483647 h 43"/>
                    <a:gd name="T6" fmla="*/ 2147483647 w 87"/>
                    <a:gd name="T7" fmla="*/ 2147483647 h 43"/>
                    <a:gd name="T8" fmla="*/ 2147483647 w 87"/>
                    <a:gd name="T9" fmla="*/ 2147483647 h 43"/>
                    <a:gd name="T10" fmla="*/ 2147483647 w 87"/>
                    <a:gd name="T11" fmla="*/ 2147483647 h 43"/>
                    <a:gd name="T12" fmla="*/ 2147483647 w 87"/>
                    <a:gd name="T13" fmla="*/ 2147483647 h 43"/>
                    <a:gd name="T14" fmla="*/ 2147483647 w 87"/>
                    <a:gd name="T15" fmla="*/ 0 h 43"/>
                    <a:gd name="T16" fmla="*/ 0 w 87"/>
                    <a:gd name="T17" fmla="*/ 2147483647 h 4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43"/>
                    <a:gd name="T29" fmla="*/ 87 w 87"/>
                    <a:gd name="T30" fmla="*/ 43 h 4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43">
                      <a:moveTo>
                        <a:pt x="0" y="8"/>
                      </a:moveTo>
                      <a:lnTo>
                        <a:pt x="0" y="17"/>
                      </a:lnTo>
                      <a:lnTo>
                        <a:pt x="17" y="26"/>
                      </a:lnTo>
                      <a:lnTo>
                        <a:pt x="8" y="43"/>
                      </a:lnTo>
                      <a:lnTo>
                        <a:pt x="43" y="43"/>
                      </a:lnTo>
                      <a:lnTo>
                        <a:pt x="69" y="43"/>
                      </a:lnTo>
                      <a:lnTo>
                        <a:pt x="87" y="8"/>
                      </a:lnTo>
                      <a:lnTo>
                        <a:pt x="3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6" name="Freeform 251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7" name="Freeform 252"/>
                <p:cNvSpPr>
                  <a:spLocks/>
                </p:cNvSpPr>
                <p:nvPr/>
              </p:nvSpPr>
              <p:spPr bwMode="auto">
                <a:xfrm>
                  <a:off x="4669488" y="1699530"/>
                  <a:ext cx="149980" cy="101733"/>
                </a:xfrm>
                <a:custGeom>
                  <a:avLst/>
                  <a:gdLst>
                    <a:gd name="T0" fmla="*/ 2147483647 w 140"/>
                    <a:gd name="T1" fmla="*/ 2147483647 h 95"/>
                    <a:gd name="T2" fmla="*/ 2147483647 w 140"/>
                    <a:gd name="T3" fmla="*/ 2147483647 h 95"/>
                    <a:gd name="T4" fmla="*/ 2147483647 w 140"/>
                    <a:gd name="T5" fmla="*/ 0 h 95"/>
                    <a:gd name="T6" fmla="*/ 2147483647 w 140"/>
                    <a:gd name="T7" fmla="*/ 2147483647 h 95"/>
                    <a:gd name="T8" fmla="*/ 2147483647 w 140"/>
                    <a:gd name="T9" fmla="*/ 2147483647 h 95"/>
                    <a:gd name="T10" fmla="*/ 2147483647 w 140"/>
                    <a:gd name="T11" fmla="*/ 2147483647 h 95"/>
                    <a:gd name="T12" fmla="*/ 2147483647 w 140"/>
                    <a:gd name="T13" fmla="*/ 2147483647 h 95"/>
                    <a:gd name="T14" fmla="*/ 0 w 140"/>
                    <a:gd name="T15" fmla="*/ 2147483647 h 95"/>
                    <a:gd name="T16" fmla="*/ 2147483647 w 140"/>
                    <a:gd name="T17" fmla="*/ 2147483647 h 95"/>
                    <a:gd name="T18" fmla="*/ 2147483647 w 140"/>
                    <a:gd name="T19" fmla="*/ 2147483647 h 95"/>
                    <a:gd name="T20" fmla="*/ 2147483647 w 140"/>
                    <a:gd name="T21" fmla="*/ 2147483647 h 95"/>
                    <a:gd name="T22" fmla="*/ 2147483647 w 140"/>
                    <a:gd name="T23" fmla="*/ 2147483647 h 95"/>
                    <a:gd name="T24" fmla="*/ 2147483647 w 140"/>
                    <a:gd name="T25" fmla="*/ 2147483647 h 95"/>
                    <a:gd name="T26" fmla="*/ 2147483647 w 140"/>
                    <a:gd name="T27" fmla="*/ 2147483647 h 95"/>
                    <a:gd name="T28" fmla="*/ 2147483647 w 140"/>
                    <a:gd name="T29" fmla="*/ 2147483647 h 95"/>
                    <a:gd name="T30" fmla="*/ 2147483647 w 140"/>
                    <a:gd name="T31" fmla="*/ 2147483647 h 95"/>
                    <a:gd name="T32" fmla="*/ 2147483647 w 140"/>
                    <a:gd name="T33" fmla="*/ 2147483647 h 95"/>
                    <a:gd name="T34" fmla="*/ 2147483647 w 140"/>
                    <a:gd name="T35" fmla="*/ 2147483647 h 95"/>
                    <a:gd name="T36" fmla="*/ 2147483647 w 140"/>
                    <a:gd name="T37" fmla="*/ 2147483647 h 95"/>
                    <a:gd name="T38" fmla="*/ 2147483647 w 140"/>
                    <a:gd name="T39" fmla="*/ 2147483647 h 95"/>
                    <a:gd name="T40" fmla="*/ 2147483647 w 140"/>
                    <a:gd name="T41" fmla="*/ 2147483647 h 9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0"/>
                    <a:gd name="T64" fmla="*/ 0 h 95"/>
                    <a:gd name="T65" fmla="*/ 140 w 140"/>
                    <a:gd name="T66" fmla="*/ 95 h 9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0" h="95">
                      <a:moveTo>
                        <a:pt x="96" y="26"/>
                      </a:moveTo>
                      <a:lnTo>
                        <a:pt x="88" y="8"/>
                      </a:lnTo>
                      <a:lnTo>
                        <a:pt x="70" y="0"/>
                      </a:lnTo>
                      <a:lnTo>
                        <a:pt x="53" y="8"/>
                      </a:lnTo>
                      <a:lnTo>
                        <a:pt x="35" y="43"/>
                      </a:lnTo>
                      <a:lnTo>
                        <a:pt x="9" y="43"/>
                      </a:lnTo>
                      <a:lnTo>
                        <a:pt x="18" y="61"/>
                      </a:lnTo>
                      <a:lnTo>
                        <a:pt x="0" y="78"/>
                      </a:lnTo>
                      <a:lnTo>
                        <a:pt x="18" y="87"/>
                      </a:lnTo>
                      <a:lnTo>
                        <a:pt x="53" y="78"/>
                      </a:lnTo>
                      <a:lnTo>
                        <a:pt x="70" y="95"/>
                      </a:lnTo>
                      <a:lnTo>
                        <a:pt x="88" y="87"/>
                      </a:lnTo>
                      <a:lnTo>
                        <a:pt x="122" y="95"/>
                      </a:lnTo>
                      <a:lnTo>
                        <a:pt x="122" y="78"/>
                      </a:lnTo>
                      <a:lnTo>
                        <a:pt x="131" y="78"/>
                      </a:lnTo>
                      <a:lnTo>
                        <a:pt x="140" y="61"/>
                      </a:lnTo>
                      <a:lnTo>
                        <a:pt x="122" y="43"/>
                      </a:lnTo>
                      <a:lnTo>
                        <a:pt x="122" y="17"/>
                      </a:lnTo>
                      <a:lnTo>
                        <a:pt x="105" y="8"/>
                      </a:lnTo>
                      <a:lnTo>
                        <a:pt x="96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8" name="Freeform 253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59" name="Freeform 254"/>
                <p:cNvSpPr>
                  <a:spLocks/>
                </p:cNvSpPr>
                <p:nvPr/>
              </p:nvSpPr>
              <p:spPr bwMode="auto">
                <a:xfrm>
                  <a:off x="4669488" y="1773420"/>
                  <a:ext cx="280677" cy="158488"/>
                </a:xfrm>
                <a:custGeom>
                  <a:avLst/>
                  <a:gdLst>
                    <a:gd name="T0" fmla="*/ 2147483647 w 262"/>
                    <a:gd name="T1" fmla="*/ 2147483647 h 148"/>
                    <a:gd name="T2" fmla="*/ 2147483647 w 262"/>
                    <a:gd name="T3" fmla="*/ 2147483647 h 148"/>
                    <a:gd name="T4" fmla="*/ 2147483647 w 262"/>
                    <a:gd name="T5" fmla="*/ 2147483647 h 148"/>
                    <a:gd name="T6" fmla="*/ 0 w 262"/>
                    <a:gd name="T7" fmla="*/ 2147483647 h 148"/>
                    <a:gd name="T8" fmla="*/ 2147483647 w 262"/>
                    <a:gd name="T9" fmla="*/ 2147483647 h 148"/>
                    <a:gd name="T10" fmla="*/ 2147483647 w 262"/>
                    <a:gd name="T11" fmla="*/ 2147483647 h 148"/>
                    <a:gd name="T12" fmla="*/ 2147483647 w 262"/>
                    <a:gd name="T13" fmla="*/ 2147483647 h 148"/>
                    <a:gd name="T14" fmla="*/ 2147483647 w 262"/>
                    <a:gd name="T15" fmla="*/ 2147483647 h 148"/>
                    <a:gd name="T16" fmla="*/ 2147483647 w 262"/>
                    <a:gd name="T17" fmla="*/ 2147483647 h 148"/>
                    <a:gd name="T18" fmla="*/ 2147483647 w 262"/>
                    <a:gd name="T19" fmla="*/ 2147483647 h 148"/>
                    <a:gd name="T20" fmla="*/ 2147483647 w 262"/>
                    <a:gd name="T21" fmla="*/ 2147483647 h 148"/>
                    <a:gd name="T22" fmla="*/ 2147483647 w 262"/>
                    <a:gd name="T23" fmla="*/ 2147483647 h 148"/>
                    <a:gd name="T24" fmla="*/ 2147483647 w 262"/>
                    <a:gd name="T25" fmla="*/ 2147483647 h 148"/>
                    <a:gd name="T26" fmla="*/ 2147483647 w 262"/>
                    <a:gd name="T27" fmla="*/ 2147483647 h 148"/>
                    <a:gd name="T28" fmla="*/ 2147483647 w 262"/>
                    <a:gd name="T29" fmla="*/ 2147483647 h 148"/>
                    <a:gd name="T30" fmla="*/ 2147483647 w 262"/>
                    <a:gd name="T31" fmla="*/ 2147483647 h 148"/>
                    <a:gd name="T32" fmla="*/ 2147483647 w 262"/>
                    <a:gd name="T33" fmla="*/ 2147483647 h 148"/>
                    <a:gd name="T34" fmla="*/ 2147483647 w 262"/>
                    <a:gd name="T35" fmla="*/ 2147483647 h 148"/>
                    <a:gd name="T36" fmla="*/ 2147483647 w 262"/>
                    <a:gd name="T37" fmla="*/ 2147483647 h 148"/>
                    <a:gd name="T38" fmla="*/ 2147483647 w 262"/>
                    <a:gd name="T39" fmla="*/ 2147483647 h 148"/>
                    <a:gd name="T40" fmla="*/ 2147483647 w 262"/>
                    <a:gd name="T41" fmla="*/ 2147483647 h 148"/>
                    <a:gd name="T42" fmla="*/ 2147483647 w 262"/>
                    <a:gd name="T43" fmla="*/ 2147483647 h 148"/>
                    <a:gd name="T44" fmla="*/ 2147483647 w 262"/>
                    <a:gd name="T45" fmla="*/ 2147483647 h 148"/>
                    <a:gd name="T46" fmla="*/ 2147483647 w 262"/>
                    <a:gd name="T47" fmla="*/ 2147483647 h 148"/>
                    <a:gd name="T48" fmla="*/ 2147483647 w 262"/>
                    <a:gd name="T49" fmla="*/ 2147483647 h 148"/>
                    <a:gd name="T50" fmla="*/ 2147483647 w 262"/>
                    <a:gd name="T51" fmla="*/ 2147483647 h 148"/>
                    <a:gd name="T52" fmla="*/ 2147483647 w 262"/>
                    <a:gd name="T53" fmla="*/ 2147483647 h 148"/>
                    <a:gd name="T54" fmla="*/ 2147483647 w 262"/>
                    <a:gd name="T55" fmla="*/ 2147483647 h 148"/>
                    <a:gd name="T56" fmla="*/ 2147483647 w 262"/>
                    <a:gd name="T57" fmla="*/ 2147483647 h 148"/>
                    <a:gd name="T58" fmla="*/ 2147483647 w 262"/>
                    <a:gd name="T59" fmla="*/ 2147483647 h 148"/>
                    <a:gd name="T60" fmla="*/ 2147483647 w 262"/>
                    <a:gd name="T61" fmla="*/ 2147483647 h 148"/>
                    <a:gd name="T62" fmla="*/ 2147483647 w 262"/>
                    <a:gd name="T63" fmla="*/ 0 h 148"/>
                    <a:gd name="T64" fmla="*/ 2147483647 w 262"/>
                    <a:gd name="T65" fmla="*/ 2147483647 h 148"/>
                    <a:gd name="T66" fmla="*/ 2147483647 w 262"/>
                    <a:gd name="T67" fmla="*/ 2147483647 h 148"/>
                    <a:gd name="T68" fmla="*/ 2147483647 w 262"/>
                    <a:gd name="T69" fmla="*/ 2147483647 h 148"/>
                    <a:gd name="T70" fmla="*/ 2147483647 w 262"/>
                    <a:gd name="T71" fmla="*/ 2147483647 h 148"/>
                    <a:gd name="T72" fmla="*/ 2147483647 w 262"/>
                    <a:gd name="T73" fmla="*/ 2147483647 h 148"/>
                    <a:gd name="T74" fmla="*/ 2147483647 w 262"/>
                    <a:gd name="T75" fmla="*/ 2147483647 h 148"/>
                    <a:gd name="T76" fmla="*/ 2147483647 w 262"/>
                    <a:gd name="T77" fmla="*/ 2147483647 h 14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62"/>
                    <a:gd name="T118" fmla="*/ 0 h 148"/>
                    <a:gd name="T119" fmla="*/ 262 w 262"/>
                    <a:gd name="T120" fmla="*/ 148 h 14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62" h="148">
                      <a:moveTo>
                        <a:pt x="18" y="18"/>
                      </a:moveTo>
                      <a:lnTo>
                        <a:pt x="27" y="35"/>
                      </a:lnTo>
                      <a:lnTo>
                        <a:pt x="9" y="53"/>
                      </a:lnTo>
                      <a:lnTo>
                        <a:pt x="0" y="70"/>
                      </a:lnTo>
                      <a:lnTo>
                        <a:pt x="18" y="79"/>
                      </a:lnTo>
                      <a:lnTo>
                        <a:pt x="53" y="87"/>
                      </a:lnTo>
                      <a:lnTo>
                        <a:pt x="70" y="79"/>
                      </a:lnTo>
                      <a:lnTo>
                        <a:pt x="88" y="70"/>
                      </a:lnTo>
                      <a:lnTo>
                        <a:pt x="105" y="79"/>
                      </a:lnTo>
                      <a:lnTo>
                        <a:pt x="114" y="105"/>
                      </a:lnTo>
                      <a:lnTo>
                        <a:pt x="96" y="122"/>
                      </a:lnTo>
                      <a:lnTo>
                        <a:pt x="114" y="131"/>
                      </a:lnTo>
                      <a:lnTo>
                        <a:pt x="131" y="105"/>
                      </a:lnTo>
                      <a:lnTo>
                        <a:pt x="166" y="122"/>
                      </a:lnTo>
                      <a:lnTo>
                        <a:pt x="175" y="148"/>
                      </a:lnTo>
                      <a:lnTo>
                        <a:pt x="184" y="148"/>
                      </a:lnTo>
                      <a:lnTo>
                        <a:pt x="201" y="131"/>
                      </a:lnTo>
                      <a:lnTo>
                        <a:pt x="192" y="114"/>
                      </a:lnTo>
                      <a:lnTo>
                        <a:pt x="175" y="114"/>
                      </a:lnTo>
                      <a:lnTo>
                        <a:pt x="236" y="96"/>
                      </a:lnTo>
                      <a:lnTo>
                        <a:pt x="245" y="87"/>
                      </a:lnTo>
                      <a:lnTo>
                        <a:pt x="262" y="79"/>
                      </a:lnTo>
                      <a:lnTo>
                        <a:pt x="262" y="53"/>
                      </a:lnTo>
                      <a:lnTo>
                        <a:pt x="218" y="35"/>
                      </a:lnTo>
                      <a:lnTo>
                        <a:pt x="210" y="44"/>
                      </a:lnTo>
                      <a:lnTo>
                        <a:pt x="201" y="35"/>
                      </a:lnTo>
                      <a:lnTo>
                        <a:pt x="192" y="35"/>
                      </a:lnTo>
                      <a:lnTo>
                        <a:pt x="184" y="26"/>
                      </a:lnTo>
                      <a:lnTo>
                        <a:pt x="175" y="26"/>
                      </a:lnTo>
                      <a:lnTo>
                        <a:pt x="175" y="9"/>
                      </a:lnTo>
                      <a:lnTo>
                        <a:pt x="166" y="0"/>
                      </a:lnTo>
                      <a:lnTo>
                        <a:pt x="131" y="9"/>
                      </a:lnTo>
                      <a:lnTo>
                        <a:pt x="122" y="9"/>
                      </a:lnTo>
                      <a:lnTo>
                        <a:pt x="122" y="26"/>
                      </a:lnTo>
                      <a:lnTo>
                        <a:pt x="88" y="18"/>
                      </a:lnTo>
                      <a:lnTo>
                        <a:pt x="70" y="26"/>
                      </a:lnTo>
                      <a:lnTo>
                        <a:pt x="53" y="9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0" name="Freeform 255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1" name="Freeform 256"/>
                <p:cNvSpPr>
                  <a:spLocks/>
                </p:cNvSpPr>
                <p:nvPr/>
              </p:nvSpPr>
              <p:spPr bwMode="auto">
                <a:xfrm>
                  <a:off x="4884816" y="1904066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2147483647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17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2" name="Freeform 257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3" name="Freeform 258"/>
                <p:cNvSpPr>
                  <a:spLocks/>
                </p:cNvSpPr>
                <p:nvPr/>
              </p:nvSpPr>
              <p:spPr bwMode="auto">
                <a:xfrm>
                  <a:off x="4744478" y="1848381"/>
                  <a:ext cx="47137" cy="55685"/>
                </a:xfrm>
                <a:custGeom>
                  <a:avLst/>
                  <a:gdLst>
                    <a:gd name="T0" fmla="*/ 2147483647 w 44"/>
                    <a:gd name="T1" fmla="*/ 0 h 52"/>
                    <a:gd name="T2" fmla="*/ 0 w 44"/>
                    <a:gd name="T3" fmla="*/ 2147483647 h 52"/>
                    <a:gd name="T4" fmla="*/ 2147483647 w 44"/>
                    <a:gd name="T5" fmla="*/ 2147483647 h 52"/>
                    <a:gd name="T6" fmla="*/ 2147483647 w 44"/>
                    <a:gd name="T7" fmla="*/ 2147483647 h 52"/>
                    <a:gd name="T8" fmla="*/ 2147483647 w 44"/>
                    <a:gd name="T9" fmla="*/ 2147483647 h 52"/>
                    <a:gd name="T10" fmla="*/ 2147483647 w 44"/>
                    <a:gd name="T11" fmla="*/ 2147483647 h 52"/>
                    <a:gd name="T12" fmla="*/ 2147483647 w 44"/>
                    <a:gd name="T13" fmla="*/ 0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52"/>
                    <a:gd name="T23" fmla="*/ 44 w 44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52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18" y="26"/>
                      </a:lnTo>
                      <a:lnTo>
                        <a:pt x="26" y="52"/>
                      </a:lnTo>
                      <a:lnTo>
                        <a:pt x="44" y="35"/>
                      </a:lnTo>
                      <a:lnTo>
                        <a:pt x="35" y="9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4" name="Freeform 259"/>
                <p:cNvSpPr>
                  <a:spLocks/>
                </p:cNvSpPr>
                <p:nvPr/>
              </p:nvSpPr>
              <p:spPr bwMode="auto">
                <a:xfrm>
                  <a:off x="4427377" y="1680256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5" name="Freeform 260"/>
                <p:cNvSpPr>
                  <a:spLocks/>
                </p:cNvSpPr>
                <p:nvPr/>
              </p:nvSpPr>
              <p:spPr bwMode="auto">
                <a:xfrm>
                  <a:off x="4427377" y="1680257"/>
                  <a:ext cx="37495" cy="55685"/>
                </a:xfrm>
                <a:custGeom>
                  <a:avLst/>
                  <a:gdLst>
                    <a:gd name="T0" fmla="*/ 2147483647 w 35"/>
                    <a:gd name="T1" fmla="*/ 2147483647 h 52"/>
                    <a:gd name="T2" fmla="*/ 2147483647 w 35"/>
                    <a:gd name="T3" fmla="*/ 2147483647 h 52"/>
                    <a:gd name="T4" fmla="*/ 2147483647 w 35"/>
                    <a:gd name="T5" fmla="*/ 0 h 52"/>
                    <a:gd name="T6" fmla="*/ 0 w 35"/>
                    <a:gd name="T7" fmla="*/ 2147483647 h 52"/>
                    <a:gd name="T8" fmla="*/ 2147483647 w 35"/>
                    <a:gd name="T9" fmla="*/ 2147483647 h 52"/>
                    <a:gd name="T10" fmla="*/ 2147483647 w 35"/>
                    <a:gd name="T11" fmla="*/ 2147483647 h 5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52"/>
                    <a:gd name="T20" fmla="*/ 35 w 35"/>
                    <a:gd name="T21" fmla="*/ 52 h 5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52">
                      <a:moveTo>
                        <a:pt x="35" y="52"/>
                      </a:moveTo>
                      <a:lnTo>
                        <a:pt x="35" y="18"/>
                      </a:lnTo>
                      <a:lnTo>
                        <a:pt x="26" y="0"/>
                      </a:lnTo>
                      <a:lnTo>
                        <a:pt x="0" y="26"/>
                      </a:lnTo>
                      <a:lnTo>
                        <a:pt x="17" y="35"/>
                      </a:lnTo>
                      <a:lnTo>
                        <a:pt x="35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6" name="Freeform 261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7" name="Freeform 262"/>
                <p:cNvSpPr>
                  <a:spLocks/>
                </p:cNvSpPr>
                <p:nvPr/>
              </p:nvSpPr>
              <p:spPr bwMode="auto">
                <a:xfrm>
                  <a:off x="4530220" y="1717737"/>
                  <a:ext cx="168192" cy="112441"/>
                </a:xfrm>
                <a:custGeom>
                  <a:avLst/>
                  <a:gdLst>
                    <a:gd name="T0" fmla="*/ 2147483647 w 157"/>
                    <a:gd name="T1" fmla="*/ 2147483647 h 105"/>
                    <a:gd name="T2" fmla="*/ 2147483647 w 157"/>
                    <a:gd name="T3" fmla="*/ 2147483647 h 105"/>
                    <a:gd name="T4" fmla="*/ 2147483647 w 157"/>
                    <a:gd name="T5" fmla="*/ 0 h 105"/>
                    <a:gd name="T6" fmla="*/ 0 w 157"/>
                    <a:gd name="T7" fmla="*/ 2147483647 h 105"/>
                    <a:gd name="T8" fmla="*/ 2147483647 w 157"/>
                    <a:gd name="T9" fmla="*/ 2147483647 h 105"/>
                    <a:gd name="T10" fmla="*/ 2147483647 w 157"/>
                    <a:gd name="T11" fmla="*/ 2147483647 h 105"/>
                    <a:gd name="T12" fmla="*/ 2147483647 w 157"/>
                    <a:gd name="T13" fmla="*/ 2147483647 h 105"/>
                    <a:gd name="T14" fmla="*/ 2147483647 w 157"/>
                    <a:gd name="T15" fmla="*/ 2147483647 h 105"/>
                    <a:gd name="T16" fmla="*/ 2147483647 w 157"/>
                    <a:gd name="T17" fmla="*/ 2147483647 h 105"/>
                    <a:gd name="T18" fmla="*/ 2147483647 w 157"/>
                    <a:gd name="T19" fmla="*/ 2147483647 h 105"/>
                    <a:gd name="T20" fmla="*/ 2147483647 w 157"/>
                    <a:gd name="T21" fmla="*/ 2147483647 h 105"/>
                    <a:gd name="T22" fmla="*/ 2147483647 w 157"/>
                    <a:gd name="T23" fmla="*/ 2147483647 h 105"/>
                    <a:gd name="T24" fmla="*/ 2147483647 w 157"/>
                    <a:gd name="T25" fmla="*/ 2147483647 h 10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7"/>
                    <a:gd name="T40" fmla="*/ 0 h 105"/>
                    <a:gd name="T41" fmla="*/ 157 w 157"/>
                    <a:gd name="T42" fmla="*/ 105 h 10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7" h="105">
                      <a:moveTo>
                        <a:pt x="78" y="17"/>
                      </a:move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0" y="17"/>
                      </a:lnTo>
                      <a:lnTo>
                        <a:pt x="26" y="70"/>
                      </a:lnTo>
                      <a:lnTo>
                        <a:pt x="87" y="105"/>
                      </a:lnTo>
                      <a:lnTo>
                        <a:pt x="139" y="105"/>
                      </a:lnTo>
                      <a:lnTo>
                        <a:pt x="157" y="78"/>
                      </a:lnTo>
                      <a:lnTo>
                        <a:pt x="148" y="70"/>
                      </a:lnTo>
                      <a:lnTo>
                        <a:pt x="130" y="52"/>
                      </a:lnTo>
                      <a:lnTo>
                        <a:pt x="148" y="35"/>
                      </a:lnTo>
                      <a:lnTo>
                        <a:pt x="139" y="26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8" name="Freeform 263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69" name="Freeform 264"/>
                <p:cNvSpPr>
                  <a:spLocks/>
                </p:cNvSpPr>
                <p:nvPr/>
              </p:nvSpPr>
              <p:spPr bwMode="auto">
                <a:xfrm>
                  <a:off x="4585927" y="1830178"/>
                  <a:ext cx="93202" cy="36409"/>
                </a:xfrm>
                <a:custGeom>
                  <a:avLst/>
                  <a:gdLst>
                    <a:gd name="T0" fmla="*/ 0 w 87"/>
                    <a:gd name="T1" fmla="*/ 2147483647 h 34"/>
                    <a:gd name="T2" fmla="*/ 2147483647 w 87"/>
                    <a:gd name="T3" fmla="*/ 2147483647 h 34"/>
                    <a:gd name="T4" fmla="*/ 2147483647 w 87"/>
                    <a:gd name="T5" fmla="*/ 2147483647 h 34"/>
                    <a:gd name="T6" fmla="*/ 2147483647 w 87"/>
                    <a:gd name="T7" fmla="*/ 2147483647 h 34"/>
                    <a:gd name="T8" fmla="*/ 2147483647 w 87"/>
                    <a:gd name="T9" fmla="*/ 2147483647 h 34"/>
                    <a:gd name="T10" fmla="*/ 2147483647 w 87"/>
                    <a:gd name="T11" fmla="*/ 0 h 34"/>
                    <a:gd name="T12" fmla="*/ 2147483647 w 87"/>
                    <a:gd name="T13" fmla="*/ 0 h 34"/>
                    <a:gd name="T14" fmla="*/ 2147483647 w 87"/>
                    <a:gd name="T15" fmla="*/ 2147483647 h 34"/>
                    <a:gd name="T16" fmla="*/ 0 w 87"/>
                    <a:gd name="T17" fmla="*/ 2147483647 h 34"/>
                    <a:gd name="T18" fmla="*/ 0 w 87"/>
                    <a:gd name="T19" fmla="*/ 2147483647 h 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7"/>
                    <a:gd name="T31" fmla="*/ 0 h 34"/>
                    <a:gd name="T32" fmla="*/ 87 w 87"/>
                    <a:gd name="T33" fmla="*/ 34 h 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7" h="34">
                      <a:moveTo>
                        <a:pt x="0" y="17"/>
                      </a:moveTo>
                      <a:lnTo>
                        <a:pt x="9" y="26"/>
                      </a:lnTo>
                      <a:lnTo>
                        <a:pt x="17" y="34"/>
                      </a:lnTo>
                      <a:lnTo>
                        <a:pt x="44" y="17"/>
                      </a:lnTo>
                      <a:lnTo>
                        <a:pt x="78" y="17"/>
                      </a:lnTo>
                      <a:lnTo>
                        <a:pt x="87" y="0"/>
                      </a:lnTo>
                      <a:lnTo>
                        <a:pt x="35" y="0"/>
                      </a:lnTo>
                      <a:lnTo>
                        <a:pt x="17" y="8"/>
                      </a:lnTo>
                      <a:lnTo>
                        <a:pt x="0" y="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0" name="Freeform 265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1" name="Freeform 266"/>
                <p:cNvSpPr>
                  <a:spLocks/>
                </p:cNvSpPr>
                <p:nvPr/>
              </p:nvSpPr>
              <p:spPr bwMode="auto">
                <a:xfrm>
                  <a:off x="4576285" y="1848383"/>
                  <a:ext cx="102844" cy="47118"/>
                </a:xfrm>
                <a:custGeom>
                  <a:avLst/>
                  <a:gdLst>
                    <a:gd name="T0" fmla="*/ 2147483647 w 96"/>
                    <a:gd name="T1" fmla="*/ 2147483647 h 44"/>
                    <a:gd name="T2" fmla="*/ 2147483647 w 96"/>
                    <a:gd name="T3" fmla="*/ 0 h 44"/>
                    <a:gd name="T4" fmla="*/ 2147483647 w 96"/>
                    <a:gd name="T5" fmla="*/ 0 h 44"/>
                    <a:gd name="T6" fmla="*/ 2147483647 w 96"/>
                    <a:gd name="T7" fmla="*/ 2147483647 h 44"/>
                    <a:gd name="T8" fmla="*/ 2147483647 w 96"/>
                    <a:gd name="T9" fmla="*/ 2147483647 h 44"/>
                    <a:gd name="T10" fmla="*/ 0 w 96"/>
                    <a:gd name="T11" fmla="*/ 2147483647 h 44"/>
                    <a:gd name="T12" fmla="*/ 2147483647 w 96"/>
                    <a:gd name="T13" fmla="*/ 2147483647 h 44"/>
                    <a:gd name="T14" fmla="*/ 2147483647 w 96"/>
                    <a:gd name="T15" fmla="*/ 2147483647 h 44"/>
                    <a:gd name="T16" fmla="*/ 2147483647 w 96"/>
                    <a:gd name="T17" fmla="*/ 2147483647 h 44"/>
                    <a:gd name="T18" fmla="*/ 2147483647 w 96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6"/>
                    <a:gd name="T31" fmla="*/ 0 h 44"/>
                    <a:gd name="T32" fmla="*/ 96 w 96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6" h="44">
                      <a:moveTo>
                        <a:pt x="96" y="9"/>
                      </a:moveTo>
                      <a:lnTo>
                        <a:pt x="87" y="0"/>
                      </a:lnTo>
                      <a:lnTo>
                        <a:pt x="53" y="0"/>
                      </a:lnTo>
                      <a:lnTo>
                        <a:pt x="26" y="17"/>
                      </a:lnTo>
                      <a:lnTo>
                        <a:pt x="18" y="9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44" y="44"/>
                      </a:lnTo>
                      <a:lnTo>
                        <a:pt x="70" y="44"/>
                      </a:lnTo>
                      <a:lnTo>
                        <a:pt x="9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2" name="Freeform 267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3" name="Freeform 268"/>
                <p:cNvSpPr>
                  <a:spLocks/>
                </p:cNvSpPr>
                <p:nvPr/>
              </p:nvSpPr>
              <p:spPr bwMode="auto">
                <a:xfrm>
                  <a:off x="4651276" y="1848383"/>
                  <a:ext cx="140339" cy="93166"/>
                </a:xfrm>
                <a:custGeom>
                  <a:avLst/>
                  <a:gdLst>
                    <a:gd name="T0" fmla="*/ 2147483647 w 131"/>
                    <a:gd name="T1" fmla="*/ 2147483647 h 87"/>
                    <a:gd name="T2" fmla="*/ 2147483647 w 131"/>
                    <a:gd name="T3" fmla="*/ 2147483647 h 87"/>
                    <a:gd name="T4" fmla="*/ 2147483647 w 131"/>
                    <a:gd name="T5" fmla="*/ 2147483647 h 87"/>
                    <a:gd name="T6" fmla="*/ 2147483647 w 131"/>
                    <a:gd name="T7" fmla="*/ 2147483647 h 87"/>
                    <a:gd name="T8" fmla="*/ 2147483647 w 131"/>
                    <a:gd name="T9" fmla="*/ 2147483647 h 87"/>
                    <a:gd name="T10" fmla="*/ 2147483647 w 131"/>
                    <a:gd name="T11" fmla="*/ 2147483647 h 87"/>
                    <a:gd name="T12" fmla="*/ 2147483647 w 131"/>
                    <a:gd name="T13" fmla="*/ 2147483647 h 87"/>
                    <a:gd name="T14" fmla="*/ 2147483647 w 131"/>
                    <a:gd name="T15" fmla="*/ 2147483647 h 87"/>
                    <a:gd name="T16" fmla="*/ 2147483647 w 131"/>
                    <a:gd name="T17" fmla="*/ 0 h 87"/>
                    <a:gd name="T18" fmla="*/ 2147483647 w 131"/>
                    <a:gd name="T19" fmla="*/ 2147483647 h 87"/>
                    <a:gd name="T20" fmla="*/ 2147483647 w 131"/>
                    <a:gd name="T21" fmla="*/ 2147483647 h 87"/>
                    <a:gd name="T22" fmla="*/ 0 w 131"/>
                    <a:gd name="T23" fmla="*/ 2147483647 h 87"/>
                    <a:gd name="T24" fmla="*/ 2147483647 w 131"/>
                    <a:gd name="T25" fmla="*/ 2147483647 h 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31"/>
                    <a:gd name="T40" fmla="*/ 0 h 87"/>
                    <a:gd name="T41" fmla="*/ 131 w 131"/>
                    <a:gd name="T42" fmla="*/ 87 h 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31" h="87">
                      <a:moveTo>
                        <a:pt x="35" y="78"/>
                      </a:moveTo>
                      <a:lnTo>
                        <a:pt x="61" y="87"/>
                      </a:lnTo>
                      <a:lnTo>
                        <a:pt x="87" y="70"/>
                      </a:lnTo>
                      <a:lnTo>
                        <a:pt x="122" y="78"/>
                      </a:lnTo>
                      <a:lnTo>
                        <a:pt x="113" y="70"/>
                      </a:lnTo>
                      <a:lnTo>
                        <a:pt x="131" y="52"/>
                      </a:lnTo>
                      <a:lnTo>
                        <a:pt x="113" y="52"/>
                      </a:lnTo>
                      <a:lnTo>
                        <a:pt x="105" y="26"/>
                      </a:lnTo>
                      <a:lnTo>
                        <a:pt x="87" y="0"/>
                      </a:lnTo>
                      <a:lnTo>
                        <a:pt x="70" y="17"/>
                      </a:lnTo>
                      <a:lnTo>
                        <a:pt x="35" y="9"/>
                      </a:lnTo>
                      <a:lnTo>
                        <a:pt x="0" y="44"/>
                      </a:lnTo>
                      <a:lnTo>
                        <a:pt x="35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4" name="Freeform 269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5" name="Freeform 270"/>
                <p:cNvSpPr>
                  <a:spLocks/>
                </p:cNvSpPr>
                <p:nvPr/>
              </p:nvSpPr>
              <p:spPr bwMode="auto">
                <a:xfrm>
                  <a:off x="4688771" y="1923343"/>
                  <a:ext cx="102844" cy="55685"/>
                </a:xfrm>
                <a:custGeom>
                  <a:avLst/>
                  <a:gdLst>
                    <a:gd name="T0" fmla="*/ 2147483647 w 96"/>
                    <a:gd name="T1" fmla="*/ 2147483647 h 52"/>
                    <a:gd name="T2" fmla="*/ 2147483647 w 96"/>
                    <a:gd name="T3" fmla="*/ 0 h 52"/>
                    <a:gd name="T4" fmla="*/ 2147483647 w 96"/>
                    <a:gd name="T5" fmla="*/ 2147483647 h 52"/>
                    <a:gd name="T6" fmla="*/ 0 w 96"/>
                    <a:gd name="T7" fmla="*/ 2147483647 h 52"/>
                    <a:gd name="T8" fmla="*/ 2147483647 w 96"/>
                    <a:gd name="T9" fmla="*/ 2147483647 h 52"/>
                    <a:gd name="T10" fmla="*/ 0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2147483647 h 52"/>
                    <a:gd name="T16" fmla="*/ 2147483647 w 96"/>
                    <a:gd name="T17" fmla="*/ 2147483647 h 52"/>
                    <a:gd name="T18" fmla="*/ 2147483647 w 96"/>
                    <a:gd name="T19" fmla="*/ 2147483647 h 52"/>
                    <a:gd name="T20" fmla="*/ 2147483647 w 96"/>
                    <a:gd name="T21" fmla="*/ 2147483647 h 52"/>
                    <a:gd name="T22" fmla="*/ 2147483647 w 96"/>
                    <a:gd name="T23" fmla="*/ 2147483647 h 52"/>
                    <a:gd name="T24" fmla="*/ 2147483647 w 96"/>
                    <a:gd name="T25" fmla="*/ 2147483647 h 5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6"/>
                    <a:gd name="T40" fmla="*/ 0 h 52"/>
                    <a:gd name="T41" fmla="*/ 96 w 96"/>
                    <a:gd name="T42" fmla="*/ 52 h 5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6" h="52">
                      <a:moveTo>
                        <a:pt x="87" y="8"/>
                      </a:moveTo>
                      <a:lnTo>
                        <a:pt x="61" y="0"/>
                      </a:lnTo>
                      <a:lnTo>
                        <a:pt x="26" y="17"/>
                      </a:lnTo>
                      <a:lnTo>
                        <a:pt x="0" y="8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17" y="35"/>
                      </a:lnTo>
                      <a:lnTo>
                        <a:pt x="17" y="52"/>
                      </a:lnTo>
                      <a:lnTo>
                        <a:pt x="43" y="52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78" y="26"/>
                      </a:lnTo>
                      <a:lnTo>
                        <a:pt x="8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6" name="Freeform 271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7" name="Freeform 272"/>
                <p:cNvSpPr>
                  <a:spLocks/>
                </p:cNvSpPr>
                <p:nvPr/>
              </p:nvSpPr>
              <p:spPr bwMode="auto">
                <a:xfrm>
                  <a:off x="4651276" y="1979028"/>
                  <a:ext cx="83560" cy="102803"/>
                </a:xfrm>
                <a:custGeom>
                  <a:avLst/>
                  <a:gdLst>
                    <a:gd name="T0" fmla="*/ 2147483647 w 78"/>
                    <a:gd name="T1" fmla="*/ 2147483647 h 96"/>
                    <a:gd name="T2" fmla="*/ 2147483647 w 78"/>
                    <a:gd name="T3" fmla="*/ 2147483647 h 96"/>
                    <a:gd name="T4" fmla="*/ 2147483647 w 78"/>
                    <a:gd name="T5" fmla="*/ 2147483647 h 96"/>
                    <a:gd name="T6" fmla="*/ 2147483647 w 78"/>
                    <a:gd name="T7" fmla="*/ 0 h 96"/>
                    <a:gd name="T8" fmla="*/ 2147483647 w 78"/>
                    <a:gd name="T9" fmla="*/ 0 h 96"/>
                    <a:gd name="T10" fmla="*/ 2147483647 w 78"/>
                    <a:gd name="T11" fmla="*/ 2147483647 h 96"/>
                    <a:gd name="T12" fmla="*/ 0 w 78"/>
                    <a:gd name="T13" fmla="*/ 2147483647 h 96"/>
                    <a:gd name="T14" fmla="*/ 2147483647 w 78"/>
                    <a:gd name="T15" fmla="*/ 2147483647 h 96"/>
                    <a:gd name="T16" fmla="*/ 2147483647 w 78"/>
                    <a:gd name="T17" fmla="*/ 2147483647 h 96"/>
                    <a:gd name="T18" fmla="*/ 2147483647 w 78"/>
                    <a:gd name="T19" fmla="*/ 2147483647 h 96"/>
                    <a:gd name="T20" fmla="*/ 2147483647 w 78"/>
                    <a:gd name="T21" fmla="*/ 2147483647 h 96"/>
                    <a:gd name="T22" fmla="*/ 2147483647 w 78"/>
                    <a:gd name="T23" fmla="*/ 2147483647 h 96"/>
                    <a:gd name="T24" fmla="*/ 2147483647 w 78"/>
                    <a:gd name="T25" fmla="*/ 2147483647 h 96"/>
                    <a:gd name="T26" fmla="*/ 2147483647 w 78"/>
                    <a:gd name="T27" fmla="*/ 2147483647 h 96"/>
                    <a:gd name="T28" fmla="*/ 2147483647 w 78"/>
                    <a:gd name="T29" fmla="*/ 2147483647 h 96"/>
                    <a:gd name="T30" fmla="*/ 2147483647 w 78"/>
                    <a:gd name="T31" fmla="*/ 2147483647 h 96"/>
                    <a:gd name="T32" fmla="*/ 2147483647 w 78"/>
                    <a:gd name="T33" fmla="*/ 2147483647 h 96"/>
                    <a:gd name="T34" fmla="*/ 2147483647 w 78"/>
                    <a:gd name="T35" fmla="*/ 2147483647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96"/>
                    <a:gd name="T56" fmla="*/ 78 w 78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96">
                      <a:moveTo>
                        <a:pt x="52" y="26"/>
                      </a:moveTo>
                      <a:lnTo>
                        <a:pt x="52" y="17"/>
                      </a:lnTo>
                      <a:lnTo>
                        <a:pt x="70" y="9"/>
                      </a:lnTo>
                      <a:lnTo>
                        <a:pt x="78" y="0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35"/>
                      </a:lnTo>
                      <a:lnTo>
                        <a:pt x="9" y="52"/>
                      </a:lnTo>
                      <a:lnTo>
                        <a:pt x="17" y="61"/>
                      </a:lnTo>
                      <a:lnTo>
                        <a:pt x="17" y="87"/>
                      </a:lnTo>
                      <a:lnTo>
                        <a:pt x="35" y="87"/>
                      </a:lnTo>
                      <a:lnTo>
                        <a:pt x="35" y="96"/>
                      </a:lnTo>
                      <a:lnTo>
                        <a:pt x="52" y="87"/>
                      </a:lnTo>
                      <a:lnTo>
                        <a:pt x="44" y="78"/>
                      </a:lnTo>
                      <a:lnTo>
                        <a:pt x="52" y="70"/>
                      </a:lnTo>
                      <a:lnTo>
                        <a:pt x="52" y="44"/>
                      </a:lnTo>
                      <a:lnTo>
                        <a:pt x="35" y="26"/>
                      </a:lnTo>
                      <a:lnTo>
                        <a:pt x="52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8" name="Freeform 273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9" name="Freeform 274"/>
                <p:cNvSpPr>
                  <a:spLocks/>
                </p:cNvSpPr>
                <p:nvPr/>
              </p:nvSpPr>
              <p:spPr bwMode="auto">
                <a:xfrm>
                  <a:off x="4706982" y="2091469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0 h 26"/>
                    <a:gd name="T4" fmla="*/ 2147483647 w 53"/>
                    <a:gd name="T5" fmla="*/ 2147483647 h 26"/>
                    <a:gd name="T6" fmla="*/ 0 w 53"/>
                    <a:gd name="T7" fmla="*/ 2147483647 h 26"/>
                    <a:gd name="T8" fmla="*/ 2147483647 w 53"/>
                    <a:gd name="T9" fmla="*/ 2147483647 h 26"/>
                    <a:gd name="T10" fmla="*/ 2147483647 w 53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26"/>
                    <a:gd name="T20" fmla="*/ 53 w 53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26">
                      <a:moveTo>
                        <a:pt x="53" y="17"/>
                      </a:moveTo>
                      <a:lnTo>
                        <a:pt x="44" y="0"/>
                      </a:lnTo>
                      <a:lnTo>
                        <a:pt x="35" y="8"/>
                      </a:lnTo>
                      <a:lnTo>
                        <a:pt x="0" y="8"/>
                      </a:lnTo>
                      <a:lnTo>
                        <a:pt x="18" y="26"/>
                      </a:lnTo>
                      <a:lnTo>
                        <a:pt x="53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0" name="Freeform 275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1" name="Freeform 276"/>
                <p:cNvSpPr>
                  <a:spLocks/>
                </p:cNvSpPr>
                <p:nvPr/>
              </p:nvSpPr>
              <p:spPr bwMode="auto">
                <a:xfrm>
                  <a:off x="4435947" y="1876224"/>
                  <a:ext cx="177834" cy="168126"/>
                </a:xfrm>
                <a:custGeom>
                  <a:avLst/>
                  <a:gdLst>
                    <a:gd name="T0" fmla="*/ 2147483647 w 166"/>
                    <a:gd name="T1" fmla="*/ 2147483647 h 157"/>
                    <a:gd name="T2" fmla="*/ 2147483647 w 166"/>
                    <a:gd name="T3" fmla="*/ 2147483647 h 157"/>
                    <a:gd name="T4" fmla="*/ 2147483647 w 166"/>
                    <a:gd name="T5" fmla="*/ 2147483647 h 157"/>
                    <a:gd name="T6" fmla="*/ 2147483647 w 166"/>
                    <a:gd name="T7" fmla="*/ 0 h 157"/>
                    <a:gd name="T8" fmla="*/ 2147483647 w 166"/>
                    <a:gd name="T9" fmla="*/ 0 h 157"/>
                    <a:gd name="T10" fmla="*/ 2147483647 w 166"/>
                    <a:gd name="T11" fmla="*/ 2147483647 h 157"/>
                    <a:gd name="T12" fmla="*/ 2147483647 w 166"/>
                    <a:gd name="T13" fmla="*/ 2147483647 h 157"/>
                    <a:gd name="T14" fmla="*/ 0 w 166"/>
                    <a:gd name="T15" fmla="*/ 2147483647 h 157"/>
                    <a:gd name="T16" fmla="*/ 2147483647 w 166"/>
                    <a:gd name="T17" fmla="*/ 2147483647 h 157"/>
                    <a:gd name="T18" fmla="*/ 2147483647 w 166"/>
                    <a:gd name="T19" fmla="*/ 2147483647 h 157"/>
                    <a:gd name="T20" fmla="*/ 2147483647 w 166"/>
                    <a:gd name="T21" fmla="*/ 2147483647 h 157"/>
                    <a:gd name="T22" fmla="*/ 2147483647 w 166"/>
                    <a:gd name="T23" fmla="*/ 2147483647 h 157"/>
                    <a:gd name="T24" fmla="*/ 2147483647 w 166"/>
                    <a:gd name="T25" fmla="*/ 2147483647 h 157"/>
                    <a:gd name="T26" fmla="*/ 2147483647 w 166"/>
                    <a:gd name="T27" fmla="*/ 2147483647 h 157"/>
                    <a:gd name="T28" fmla="*/ 2147483647 w 166"/>
                    <a:gd name="T29" fmla="*/ 2147483647 h 157"/>
                    <a:gd name="T30" fmla="*/ 2147483647 w 166"/>
                    <a:gd name="T31" fmla="*/ 2147483647 h 157"/>
                    <a:gd name="T32" fmla="*/ 2147483647 w 166"/>
                    <a:gd name="T33" fmla="*/ 2147483647 h 157"/>
                    <a:gd name="T34" fmla="*/ 2147483647 w 166"/>
                    <a:gd name="T35" fmla="*/ 2147483647 h 157"/>
                    <a:gd name="T36" fmla="*/ 2147483647 w 166"/>
                    <a:gd name="T37" fmla="*/ 2147483647 h 157"/>
                    <a:gd name="T38" fmla="*/ 2147483647 w 166"/>
                    <a:gd name="T39" fmla="*/ 2147483647 h 157"/>
                    <a:gd name="T40" fmla="*/ 2147483647 w 166"/>
                    <a:gd name="T41" fmla="*/ 2147483647 h 157"/>
                    <a:gd name="T42" fmla="*/ 2147483647 w 166"/>
                    <a:gd name="T43" fmla="*/ 2147483647 h 157"/>
                    <a:gd name="T44" fmla="*/ 2147483647 w 166"/>
                    <a:gd name="T45" fmla="*/ 2147483647 h 157"/>
                    <a:gd name="T46" fmla="*/ 2147483647 w 166"/>
                    <a:gd name="T47" fmla="*/ 2147483647 h 157"/>
                    <a:gd name="T48" fmla="*/ 2147483647 w 166"/>
                    <a:gd name="T49" fmla="*/ 2147483647 h 157"/>
                    <a:gd name="T50" fmla="*/ 2147483647 w 166"/>
                    <a:gd name="T51" fmla="*/ 2147483647 h 157"/>
                    <a:gd name="T52" fmla="*/ 2147483647 w 166"/>
                    <a:gd name="T53" fmla="*/ 2147483647 h 157"/>
                    <a:gd name="T54" fmla="*/ 2147483647 w 166"/>
                    <a:gd name="T55" fmla="*/ 2147483647 h 157"/>
                    <a:gd name="T56" fmla="*/ 2147483647 w 166"/>
                    <a:gd name="T57" fmla="*/ 2147483647 h 157"/>
                    <a:gd name="T58" fmla="*/ 2147483647 w 166"/>
                    <a:gd name="T59" fmla="*/ 2147483647 h 15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66"/>
                    <a:gd name="T91" fmla="*/ 0 h 157"/>
                    <a:gd name="T92" fmla="*/ 166 w 166"/>
                    <a:gd name="T93" fmla="*/ 157 h 15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66" h="157">
                      <a:moveTo>
                        <a:pt x="88" y="26"/>
                      </a:moveTo>
                      <a:lnTo>
                        <a:pt x="96" y="9"/>
                      </a:lnTo>
                      <a:lnTo>
                        <a:pt x="79" y="9"/>
                      </a:lnTo>
                      <a:lnTo>
                        <a:pt x="70" y="0"/>
                      </a:lnTo>
                      <a:lnTo>
                        <a:pt x="44" y="0"/>
                      </a:lnTo>
                      <a:lnTo>
                        <a:pt x="27" y="18"/>
                      </a:lnTo>
                      <a:lnTo>
                        <a:pt x="18" y="18"/>
                      </a:lnTo>
                      <a:lnTo>
                        <a:pt x="0" y="18"/>
                      </a:lnTo>
                      <a:lnTo>
                        <a:pt x="9" y="52"/>
                      </a:lnTo>
                      <a:lnTo>
                        <a:pt x="35" y="52"/>
                      </a:lnTo>
                      <a:lnTo>
                        <a:pt x="53" y="79"/>
                      </a:lnTo>
                      <a:lnTo>
                        <a:pt x="79" y="96"/>
                      </a:lnTo>
                      <a:lnTo>
                        <a:pt x="96" y="96"/>
                      </a:lnTo>
                      <a:lnTo>
                        <a:pt x="105" y="113"/>
                      </a:lnTo>
                      <a:lnTo>
                        <a:pt x="131" y="122"/>
                      </a:lnTo>
                      <a:lnTo>
                        <a:pt x="140" y="140"/>
                      </a:lnTo>
                      <a:lnTo>
                        <a:pt x="131" y="157"/>
                      </a:lnTo>
                      <a:lnTo>
                        <a:pt x="140" y="157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49" y="113"/>
                      </a:lnTo>
                      <a:lnTo>
                        <a:pt x="166" y="122"/>
                      </a:lnTo>
                      <a:lnTo>
                        <a:pt x="166" y="113"/>
                      </a:lnTo>
                      <a:lnTo>
                        <a:pt x="140" y="96"/>
                      </a:lnTo>
                      <a:lnTo>
                        <a:pt x="131" y="87"/>
                      </a:lnTo>
                      <a:lnTo>
                        <a:pt x="88" y="52"/>
                      </a:lnTo>
                      <a:lnTo>
                        <a:pt x="79" y="52"/>
                      </a:lnTo>
                      <a:lnTo>
                        <a:pt x="70" y="26"/>
                      </a:lnTo>
                      <a:lnTo>
                        <a:pt x="79" y="18"/>
                      </a:lnTo>
                      <a:lnTo>
                        <a:pt x="8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2" name="Freeform 277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3" name="Freeform 278"/>
                <p:cNvSpPr>
                  <a:spLocks/>
                </p:cNvSpPr>
                <p:nvPr/>
              </p:nvSpPr>
              <p:spPr bwMode="auto">
                <a:xfrm>
                  <a:off x="4520579" y="2044351"/>
                  <a:ext cx="55707" cy="37481"/>
                </a:xfrm>
                <a:custGeom>
                  <a:avLst/>
                  <a:gdLst>
                    <a:gd name="T0" fmla="*/ 2147483647 w 52"/>
                    <a:gd name="T1" fmla="*/ 2147483647 h 35"/>
                    <a:gd name="T2" fmla="*/ 2147483647 w 52"/>
                    <a:gd name="T3" fmla="*/ 2147483647 h 35"/>
                    <a:gd name="T4" fmla="*/ 2147483647 w 52"/>
                    <a:gd name="T5" fmla="*/ 0 h 35"/>
                    <a:gd name="T6" fmla="*/ 0 w 52"/>
                    <a:gd name="T7" fmla="*/ 0 h 35"/>
                    <a:gd name="T8" fmla="*/ 2147483647 w 52"/>
                    <a:gd name="T9" fmla="*/ 2147483647 h 35"/>
                    <a:gd name="T10" fmla="*/ 2147483647 w 52"/>
                    <a:gd name="T11" fmla="*/ 2147483647 h 35"/>
                    <a:gd name="T12" fmla="*/ 2147483647 w 52"/>
                    <a:gd name="T13" fmla="*/ 2147483647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35"/>
                    <a:gd name="T23" fmla="*/ 52 w 52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35">
                      <a:moveTo>
                        <a:pt x="44" y="9"/>
                      </a:moveTo>
                      <a:lnTo>
                        <a:pt x="26" y="9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26" y="26"/>
                      </a:lnTo>
                      <a:lnTo>
                        <a:pt x="52" y="35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4" name="Freeform 279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5" name="Freeform 280"/>
                <p:cNvSpPr>
                  <a:spLocks/>
                </p:cNvSpPr>
                <p:nvPr/>
              </p:nvSpPr>
              <p:spPr bwMode="auto">
                <a:xfrm>
                  <a:off x="4445588" y="1988665"/>
                  <a:ext cx="27853" cy="46048"/>
                </a:xfrm>
                <a:custGeom>
                  <a:avLst/>
                  <a:gdLst>
                    <a:gd name="T0" fmla="*/ 2147483647 w 26"/>
                    <a:gd name="T1" fmla="*/ 0 h 43"/>
                    <a:gd name="T2" fmla="*/ 0 w 26"/>
                    <a:gd name="T3" fmla="*/ 2147483647 h 43"/>
                    <a:gd name="T4" fmla="*/ 0 w 26"/>
                    <a:gd name="T5" fmla="*/ 2147483647 h 43"/>
                    <a:gd name="T6" fmla="*/ 2147483647 w 26"/>
                    <a:gd name="T7" fmla="*/ 2147483647 h 43"/>
                    <a:gd name="T8" fmla="*/ 2147483647 w 26"/>
                    <a:gd name="T9" fmla="*/ 2147483647 h 43"/>
                    <a:gd name="T10" fmla="*/ 2147483647 w 26"/>
                    <a:gd name="T11" fmla="*/ 2147483647 h 43"/>
                    <a:gd name="T12" fmla="*/ 2147483647 w 26"/>
                    <a:gd name="T13" fmla="*/ 0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43"/>
                    <a:gd name="T23" fmla="*/ 26 w 26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43">
                      <a:moveTo>
                        <a:pt x="18" y="0"/>
                      </a:moveTo>
                      <a:lnTo>
                        <a:pt x="0" y="8"/>
                      </a:lnTo>
                      <a:lnTo>
                        <a:pt x="0" y="35"/>
                      </a:lnTo>
                      <a:lnTo>
                        <a:pt x="18" y="43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6" name="Freeform 281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7" name="Freeform 282"/>
                <p:cNvSpPr>
                  <a:spLocks/>
                </p:cNvSpPr>
                <p:nvPr/>
              </p:nvSpPr>
              <p:spPr bwMode="auto">
                <a:xfrm>
                  <a:off x="4530220" y="1885863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2147483647 h 61"/>
                    <a:gd name="T4" fmla="*/ 2147483647 w 87"/>
                    <a:gd name="T5" fmla="*/ 2147483647 h 61"/>
                    <a:gd name="T6" fmla="*/ 2147483647 w 87"/>
                    <a:gd name="T7" fmla="*/ 0 h 61"/>
                    <a:gd name="T8" fmla="*/ 2147483647 w 87"/>
                    <a:gd name="T9" fmla="*/ 2147483647 h 61"/>
                    <a:gd name="T10" fmla="*/ 2147483647 w 87"/>
                    <a:gd name="T11" fmla="*/ 2147483647 h 61"/>
                    <a:gd name="T12" fmla="*/ 0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2147483647 w 87"/>
                    <a:gd name="T19" fmla="*/ 2147483647 h 61"/>
                    <a:gd name="T20" fmla="*/ 2147483647 w 87"/>
                    <a:gd name="T21" fmla="*/ 2147483647 h 61"/>
                    <a:gd name="T22" fmla="*/ 2147483647 w 87"/>
                    <a:gd name="T23" fmla="*/ 2147483647 h 61"/>
                    <a:gd name="T24" fmla="*/ 2147483647 w 87"/>
                    <a:gd name="T25" fmla="*/ 2147483647 h 61"/>
                    <a:gd name="T26" fmla="*/ 2147483647 w 87"/>
                    <a:gd name="T27" fmla="*/ 2147483647 h 6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7"/>
                    <a:gd name="T43" fmla="*/ 0 h 61"/>
                    <a:gd name="T44" fmla="*/ 87 w 87"/>
                    <a:gd name="T45" fmla="*/ 61 h 6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7" h="61">
                      <a:moveTo>
                        <a:pt x="78" y="17"/>
                      </a:moveTo>
                      <a:lnTo>
                        <a:pt x="87" y="17"/>
                      </a:lnTo>
                      <a:lnTo>
                        <a:pt x="87" y="9"/>
                      </a:lnTo>
                      <a:lnTo>
                        <a:pt x="52" y="0"/>
                      </a:lnTo>
                      <a:lnTo>
                        <a:pt x="43" y="17"/>
                      </a:lnTo>
                      <a:lnTo>
                        <a:pt x="26" y="9"/>
                      </a:lnTo>
                      <a:lnTo>
                        <a:pt x="0" y="17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43" y="61"/>
                      </a:lnTo>
                      <a:lnTo>
                        <a:pt x="69" y="61"/>
                      </a:lnTo>
                      <a:lnTo>
                        <a:pt x="43" y="26"/>
                      </a:lnTo>
                      <a:lnTo>
                        <a:pt x="52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8" name="Freeform 283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89" name="Freeform 284"/>
                <p:cNvSpPr>
                  <a:spLocks/>
                </p:cNvSpPr>
                <p:nvPr/>
              </p:nvSpPr>
              <p:spPr bwMode="auto">
                <a:xfrm>
                  <a:off x="4576285" y="1904068"/>
                  <a:ext cx="56779" cy="56756"/>
                </a:xfrm>
                <a:custGeom>
                  <a:avLst/>
                  <a:gdLst>
                    <a:gd name="T0" fmla="*/ 2147483647 w 53"/>
                    <a:gd name="T1" fmla="*/ 0 h 53"/>
                    <a:gd name="T2" fmla="*/ 0 w 53"/>
                    <a:gd name="T3" fmla="*/ 2147483647 h 53"/>
                    <a:gd name="T4" fmla="*/ 2147483647 w 53"/>
                    <a:gd name="T5" fmla="*/ 2147483647 h 53"/>
                    <a:gd name="T6" fmla="*/ 2147483647 w 53"/>
                    <a:gd name="T7" fmla="*/ 2147483647 h 53"/>
                    <a:gd name="T8" fmla="*/ 2147483647 w 53"/>
                    <a:gd name="T9" fmla="*/ 2147483647 h 53"/>
                    <a:gd name="T10" fmla="*/ 2147483647 w 53"/>
                    <a:gd name="T11" fmla="*/ 0 h 53"/>
                    <a:gd name="T12" fmla="*/ 2147483647 w 53"/>
                    <a:gd name="T13" fmla="*/ 0 h 5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53"/>
                    <a:gd name="T23" fmla="*/ 53 w 53"/>
                    <a:gd name="T24" fmla="*/ 53 h 5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53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26" y="44"/>
                      </a:lnTo>
                      <a:lnTo>
                        <a:pt x="35" y="53"/>
                      </a:lnTo>
                      <a:lnTo>
                        <a:pt x="53" y="26"/>
                      </a:lnTo>
                      <a:lnTo>
                        <a:pt x="35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0" name="Freeform 285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1" name="Freeform 286"/>
                <p:cNvSpPr>
                  <a:spLocks/>
                </p:cNvSpPr>
                <p:nvPr/>
              </p:nvSpPr>
              <p:spPr bwMode="auto">
                <a:xfrm>
                  <a:off x="4613781" y="1895501"/>
                  <a:ext cx="84632" cy="83527"/>
                </a:xfrm>
                <a:custGeom>
                  <a:avLst/>
                  <a:gdLst>
                    <a:gd name="T0" fmla="*/ 2147483647 w 79"/>
                    <a:gd name="T1" fmla="*/ 2147483647 h 78"/>
                    <a:gd name="T2" fmla="*/ 2147483647 w 79"/>
                    <a:gd name="T3" fmla="*/ 2147483647 h 78"/>
                    <a:gd name="T4" fmla="*/ 2147483647 w 79"/>
                    <a:gd name="T5" fmla="*/ 2147483647 h 78"/>
                    <a:gd name="T6" fmla="*/ 2147483647 w 79"/>
                    <a:gd name="T7" fmla="*/ 0 h 78"/>
                    <a:gd name="T8" fmla="*/ 2147483647 w 79"/>
                    <a:gd name="T9" fmla="*/ 0 h 78"/>
                    <a:gd name="T10" fmla="*/ 2147483647 w 79"/>
                    <a:gd name="T11" fmla="*/ 2147483647 h 78"/>
                    <a:gd name="T12" fmla="*/ 0 w 79"/>
                    <a:gd name="T13" fmla="*/ 2147483647 h 78"/>
                    <a:gd name="T14" fmla="*/ 2147483647 w 79"/>
                    <a:gd name="T15" fmla="*/ 2147483647 h 78"/>
                    <a:gd name="T16" fmla="*/ 0 w 79"/>
                    <a:gd name="T17" fmla="*/ 2147483647 h 78"/>
                    <a:gd name="T18" fmla="*/ 2147483647 w 79"/>
                    <a:gd name="T19" fmla="*/ 2147483647 h 78"/>
                    <a:gd name="T20" fmla="*/ 2147483647 w 79"/>
                    <a:gd name="T21" fmla="*/ 2147483647 h 78"/>
                    <a:gd name="T22" fmla="*/ 2147483647 w 79"/>
                    <a:gd name="T23" fmla="*/ 2147483647 h 78"/>
                    <a:gd name="T24" fmla="*/ 2147483647 w 79"/>
                    <a:gd name="T25" fmla="*/ 2147483647 h 78"/>
                    <a:gd name="T26" fmla="*/ 2147483647 w 79"/>
                    <a:gd name="T27" fmla="*/ 2147483647 h 7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79"/>
                    <a:gd name="T43" fmla="*/ 0 h 78"/>
                    <a:gd name="T44" fmla="*/ 79 w 79"/>
                    <a:gd name="T45" fmla="*/ 78 h 7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79" h="78">
                      <a:moveTo>
                        <a:pt x="70" y="61"/>
                      </a:move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9" y="8"/>
                      </a:lnTo>
                      <a:lnTo>
                        <a:pt x="0" y="8"/>
                      </a:lnTo>
                      <a:lnTo>
                        <a:pt x="18" y="34"/>
                      </a:lnTo>
                      <a:lnTo>
                        <a:pt x="0" y="61"/>
                      </a:lnTo>
                      <a:lnTo>
                        <a:pt x="9" y="69"/>
                      </a:lnTo>
                      <a:lnTo>
                        <a:pt x="18" y="61"/>
                      </a:lnTo>
                      <a:lnTo>
                        <a:pt x="26" y="61"/>
                      </a:lnTo>
                      <a:lnTo>
                        <a:pt x="44" y="78"/>
                      </a:lnTo>
                      <a:lnTo>
                        <a:pt x="70" y="61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2" name="Freeform 287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3" name="Freeform 288"/>
                <p:cNvSpPr>
                  <a:spLocks/>
                </p:cNvSpPr>
                <p:nvPr/>
              </p:nvSpPr>
              <p:spPr bwMode="auto">
                <a:xfrm>
                  <a:off x="4623422" y="1960823"/>
                  <a:ext cx="46066" cy="55685"/>
                </a:xfrm>
                <a:custGeom>
                  <a:avLst/>
                  <a:gdLst>
                    <a:gd name="T0" fmla="*/ 2147483647 w 43"/>
                    <a:gd name="T1" fmla="*/ 2147483647 h 52"/>
                    <a:gd name="T2" fmla="*/ 2147483647 w 43"/>
                    <a:gd name="T3" fmla="*/ 2147483647 h 52"/>
                    <a:gd name="T4" fmla="*/ 2147483647 w 43"/>
                    <a:gd name="T5" fmla="*/ 0 h 52"/>
                    <a:gd name="T6" fmla="*/ 2147483647 w 43"/>
                    <a:gd name="T7" fmla="*/ 0 h 52"/>
                    <a:gd name="T8" fmla="*/ 0 w 43"/>
                    <a:gd name="T9" fmla="*/ 2147483647 h 52"/>
                    <a:gd name="T10" fmla="*/ 2147483647 w 43"/>
                    <a:gd name="T11" fmla="*/ 2147483647 h 52"/>
                    <a:gd name="T12" fmla="*/ 2147483647 w 43"/>
                    <a:gd name="T13" fmla="*/ 2147483647 h 52"/>
                    <a:gd name="T14" fmla="*/ 2147483647 w 43"/>
                    <a:gd name="T15" fmla="*/ 2147483647 h 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"/>
                    <a:gd name="T25" fmla="*/ 0 h 52"/>
                    <a:gd name="T26" fmla="*/ 43 w 43"/>
                    <a:gd name="T27" fmla="*/ 52 h 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" h="52">
                      <a:moveTo>
                        <a:pt x="43" y="34"/>
                      </a:moveTo>
                      <a:lnTo>
                        <a:pt x="35" y="17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9" y="43"/>
                      </a:lnTo>
                      <a:lnTo>
                        <a:pt x="26" y="52"/>
                      </a:lnTo>
                      <a:lnTo>
                        <a:pt x="43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4" name="Freeform 289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5" name="Freeform 290"/>
                <p:cNvSpPr>
                  <a:spLocks/>
                </p:cNvSpPr>
                <p:nvPr/>
              </p:nvSpPr>
              <p:spPr bwMode="auto">
                <a:xfrm>
                  <a:off x="4660917" y="1960823"/>
                  <a:ext cx="46066" cy="36409"/>
                </a:xfrm>
                <a:custGeom>
                  <a:avLst/>
                  <a:gdLst>
                    <a:gd name="T0" fmla="*/ 2147483647 w 43"/>
                    <a:gd name="T1" fmla="*/ 0 h 34"/>
                    <a:gd name="T2" fmla="*/ 2147483647 w 43"/>
                    <a:gd name="T3" fmla="*/ 0 h 34"/>
                    <a:gd name="T4" fmla="*/ 0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2147483647 w 43"/>
                    <a:gd name="T11" fmla="*/ 0 h 3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3"/>
                    <a:gd name="T19" fmla="*/ 0 h 34"/>
                    <a:gd name="T20" fmla="*/ 43 w 43"/>
                    <a:gd name="T21" fmla="*/ 34 h 3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3" h="34">
                      <a:moveTo>
                        <a:pt x="43" y="0"/>
                      </a:moveTo>
                      <a:lnTo>
                        <a:pt x="26" y="0"/>
                      </a:lnTo>
                      <a:lnTo>
                        <a:pt x="0" y="17"/>
                      </a:lnTo>
                      <a:lnTo>
                        <a:pt x="8" y="34"/>
                      </a:lnTo>
                      <a:lnTo>
                        <a:pt x="43" y="17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6" name="Freeform 291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7" name="Freeform 292"/>
                <p:cNvSpPr>
                  <a:spLocks/>
                </p:cNvSpPr>
                <p:nvPr/>
              </p:nvSpPr>
              <p:spPr bwMode="auto">
                <a:xfrm>
                  <a:off x="4165983" y="1931910"/>
                  <a:ext cx="196046" cy="159559"/>
                </a:xfrm>
                <a:custGeom>
                  <a:avLst/>
                  <a:gdLst>
                    <a:gd name="T0" fmla="*/ 2147483647 w 183"/>
                    <a:gd name="T1" fmla="*/ 2147483647 h 149"/>
                    <a:gd name="T2" fmla="*/ 2147483647 w 183"/>
                    <a:gd name="T3" fmla="*/ 2147483647 h 149"/>
                    <a:gd name="T4" fmla="*/ 2147483647 w 183"/>
                    <a:gd name="T5" fmla="*/ 2147483647 h 149"/>
                    <a:gd name="T6" fmla="*/ 2147483647 w 183"/>
                    <a:gd name="T7" fmla="*/ 2147483647 h 149"/>
                    <a:gd name="T8" fmla="*/ 2147483647 w 183"/>
                    <a:gd name="T9" fmla="*/ 2147483647 h 149"/>
                    <a:gd name="T10" fmla="*/ 2147483647 w 183"/>
                    <a:gd name="T11" fmla="*/ 2147483647 h 149"/>
                    <a:gd name="T12" fmla="*/ 2147483647 w 183"/>
                    <a:gd name="T13" fmla="*/ 0 h 149"/>
                    <a:gd name="T14" fmla="*/ 0 w 183"/>
                    <a:gd name="T15" fmla="*/ 2147483647 h 149"/>
                    <a:gd name="T16" fmla="*/ 0 w 183"/>
                    <a:gd name="T17" fmla="*/ 2147483647 h 149"/>
                    <a:gd name="T18" fmla="*/ 2147483647 w 183"/>
                    <a:gd name="T19" fmla="*/ 2147483647 h 149"/>
                    <a:gd name="T20" fmla="*/ 2147483647 w 183"/>
                    <a:gd name="T21" fmla="*/ 2147483647 h 149"/>
                    <a:gd name="T22" fmla="*/ 2147483647 w 183"/>
                    <a:gd name="T23" fmla="*/ 2147483647 h 149"/>
                    <a:gd name="T24" fmla="*/ 2147483647 w 183"/>
                    <a:gd name="T25" fmla="*/ 2147483647 h 149"/>
                    <a:gd name="T26" fmla="*/ 2147483647 w 183"/>
                    <a:gd name="T27" fmla="*/ 2147483647 h 149"/>
                    <a:gd name="T28" fmla="*/ 2147483647 w 183"/>
                    <a:gd name="T29" fmla="*/ 2147483647 h 149"/>
                    <a:gd name="T30" fmla="*/ 2147483647 w 183"/>
                    <a:gd name="T31" fmla="*/ 2147483647 h 149"/>
                    <a:gd name="T32" fmla="*/ 2147483647 w 183"/>
                    <a:gd name="T33" fmla="*/ 2147483647 h 149"/>
                    <a:gd name="T34" fmla="*/ 2147483647 w 183"/>
                    <a:gd name="T35" fmla="*/ 2147483647 h 149"/>
                    <a:gd name="T36" fmla="*/ 2147483647 w 183"/>
                    <a:gd name="T37" fmla="*/ 2147483647 h 1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3"/>
                    <a:gd name="T58" fmla="*/ 0 h 149"/>
                    <a:gd name="T59" fmla="*/ 183 w 183"/>
                    <a:gd name="T60" fmla="*/ 149 h 1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3" h="149">
                      <a:moveTo>
                        <a:pt x="183" y="27"/>
                      </a:moveTo>
                      <a:lnTo>
                        <a:pt x="165" y="27"/>
                      </a:lnTo>
                      <a:lnTo>
                        <a:pt x="157" y="35"/>
                      </a:lnTo>
                      <a:lnTo>
                        <a:pt x="157" y="27"/>
                      </a:lnTo>
                      <a:lnTo>
                        <a:pt x="113" y="9"/>
                      </a:lnTo>
                      <a:lnTo>
                        <a:pt x="104" y="18"/>
                      </a:lnTo>
                      <a:lnTo>
                        <a:pt x="17" y="0"/>
                      </a:lnTo>
                      <a:lnTo>
                        <a:pt x="0" y="18"/>
                      </a:lnTo>
                      <a:lnTo>
                        <a:pt x="0" y="35"/>
                      </a:lnTo>
                      <a:lnTo>
                        <a:pt x="43" y="44"/>
                      </a:lnTo>
                      <a:lnTo>
                        <a:pt x="34" y="88"/>
                      </a:lnTo>
                      <a:lnTo>
                        <a:pt x="26" y="122"/>
                      </a:lnTo>
                      <a:lnTo>
                        <a:pt x="52" y="149"/>
                      </a:lnTo>
                      <a:lnTo>
                        <a:pt x="69" y="140"/>
                      </a:lnTo>
                      <a:lnTo>
                        <a:pt x="104" y="131"/>
                      </a:lnTo>
                      <a:lnTo>
                        <a:pt x="122" y="114"/>
                      </a:lnTo>
                      <a:lnTo>
                        <a:pt x="148" y="70"/>
                      </a:lnTo>
                      <a:lnTo>
                        <a:pt x="183" y="44"/>
                      </a:lnTo>
                      <a:lnTo>
                        <a:pt x="183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8" name="Freeform 293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99" name="Freeform 294"/>
                <p:cNvSpPr>
                  <a:spLocks/>
                </p:cNvSpPr>
                <p:nvPr/>
              </p:nvSpPr>
              <p:spPr bwMode="auto">
                <a:xfrm>
                  <a:off x="4352387" y="2006871"/>
                  <a:ext cx="18212" cy="19276"/>
                </a:xfrm>
                <a:custGeom>
                  <a:avLst/>
                  <a:gdLst>
                    <a:gd name="T0" fmla="*/ 0 w 17"/>
                    <a:gd name="T1" fmla="*/ 0 h 18"/>
                    <a:gd name="T2" fmla="*/ 2147483647 w 17"/>
                    <a:gd name="T3" fmla="*/ 2147483647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w 1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0"/>
                      </a:moveTo>
                      <a:lnTo>
                        <a:pt x="17" y="18"/>
                      </a:ln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0" name="Freeform 301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1" name="Freeform 302"/>
                <p:cNvSpPr>
                  <a:spLocks/>
                </p:cNvSpPr>
                <p:nvPr/>
              </p:nvSpPr>
              <p:spPr bwMode="auto">
                <a:xfrm>
                  <a:off x="4156341" y="1969390"/>
                  <a:ext cx="55707" cy="93166"/>
                </a:xfrm>
                <a:custGeom>
                  <a:avLst/>
                  <a:gdLst>
                    <a:gd name="T0" fmla="*/ 2147483647 w 52"/>
                    <a:gd name="T1" fmla="*/ 2147483647 h 87"/>
                    <a:gd name="T2" fmla="*/ 2147483647 w 52"/>
                    <a:gd name="T3" fmla="*/ 0 h 87"/>
                    <a:gd name="T4" fmla="*/ 2147483647 w 52"/>
                    <a:gd name="T5" fmla="*/ 2147483647 h 87"/>
                    <a:gd name="T6" fmla="*/ 0 w 52"/>
                    <a:gd name="T7" fmla="*/ 2147483647 h 87"/>
                    <a:gd name="T8" fmla="*/ 2147483647 w 52"/>
                    <a:gd name="T9" fmla="*/ 2147483647 h 87"/>
                    <a:gd name="T10" fmla="*/ 2147483647 w 52"/>
                    <a:gd name="T11" fmla="*/ 2147483647 h 87"/>
                    <a:gd name="T12" fmla="*/ 2147483647 w 52"/>
                    <a:gd name="T13" fmla="*/ 2147483647 h 87"/>
                    <a:gd name="T14" fmla="*/ 2147483647 w 52"/>
                    <a:gd name="T15" fmla="*/ 2147483647 h 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2"/>
                    <a:gd name="T25" fmla="*/ 0 h 87"/>
                    <a:gd name="T26" fmla="*/ 52 w 52"/>
                    <a:gd name="T27" fmla="*/ 87 h 8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2" h="87">
                      <a:moveTo>
                        <a:pt x="52" y="9"/>
                      </a:moveTo>
                      <a:lnTo>
                        <a:pt x="9" y="0"/>
                      </a:lnTo>
                      <a:lnTo>
                        <a:pt x="9" y="26"/>
                      </a:lnTo>
                      <a:lnTo>
                        <a:pt x="0" y="53"/>
                      </a:lnTo>
                      <a:lnTo>
                        <a:pt x="9" y="87"/>
                      </a:lnTo>
                      <a:lnTo>
                        <a:pt x="35" y="87"/>
                      </a:lnTo>
                      <a:lnTo>
                        <a:pt x="43" y="53"/>
                      </a:lnTo>
                      <a:lnTo>
                        <a:pt x="52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2" name="Freeform 303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3" name="Freeform 304"/>
                <p:cNvSpPr>
                  <a:spLocks/>
                </p:cNvSpPr>
                <p:nvPr/>
              </p:nvSpPr>
              <p:spPr bwMode="auto">
                <a:xfrm>
                  <a:off x="4239901" y="1792697"/>
                  <a:ext cx="205687" cy="168126"/>
                </a:xfrm>
                <a:custGeom>
                  <a:avLst/>
                  <a:gdLst>
                    <a:gd name="T0" fmla="*/ 2147483647 w 192"/>
                    <a:gd name="T1" fmla="*/ 2147483647 h 157"/>
                    <a:gd name="T2" fmla="*/ 2147483647 w 192"/>
                    <a:gd name="T3" fmla="*/ 2147483647 h 157"/>
                    <a:gd name="T4" fmla="*/ 2147483647 w 192"/>
                    <a:gd name="T5" fmla="*/ 2147483647 h 157"/>
                    <a:gd name="T6" fmla="*/ 2147483647 w 192"/>
                    <a:gd name="T7" fmla="*/ 2147483647 h 157"/>
                    <a:gd name="T8" fmla="*/ 0 w 192"/>
                    <a:gd name="T9" fmla="*/ 2147483647 h 157"/>
                    <a:gd name="T10" fmla="*/ 2147483647 w 192"/>
                    <a:gd name="T11" fmla="*/ 2147483647 h 157"/>
                    <a:gd name="T12" fmla="*/ 2147483647 w 192"/>
                    <a:gd name="T13" fmla="*/ 2147483647 h 157"/>
                    <a:gd name="T14" fmla="*/ 2147483647 w 192"/>
                    <a:gd name="T15" fmla="*/ 2147483647 h 157"/>
                    <a:gd name="T16" fmla="*/ 2147483647 w 192"/>
                    <a:gd name="T17" fmla="*/ 2147483647 h 157"/>
                    <a:gd name="T18" fmla="*/ 2147483647 w 192"/>
                    <a:gd name="T19" fmla="*/ 2147483647 h 157"/>
                    <a:gd name="T20" fmla="*/ 2147483647 w 192"/>
                    <a:gd name="T21" fmla="*/ 2147483647 h 157"/>
                    <a:gd name="T22" fmla="*/ 2147483647 w 192"/>
                    <a:gd name="T23" fmla="*/ 2147483647 h 157"/>
                    <a:gd name="T24" fmla="*/ 2147483647 w 192"/>
                    <a:gd name="T25" fmla="*/ 2147483647 h 157"/>
                    <a:gd name="T26" fmla="*/ 2147483647 w 192"/>
                    <a:gd name="T27" fmla="*/ 2147483647 h 157"/>
                    <a:gd name="T28" fmla="*/ 2147483647 w 192"/>
                    <a:gd name="T29" fmla="*/ 2147483647 h 157"/>
                    <a:gd name="T30" fmla="*/ 2147483647 w 192"/>
                    <a:gd name="T31" fmla="*/ 2147483647 h 157"/>
                    <a:gd name="T32" fmla="*/ 2147483647 w 192"/>
                    <a:gd name="T33" fmla="*/ 2147483647 h 157"/>
                    <a:gd name="T34" fmla="*/ 2147483647 w 192"/>
                    <a:gd name="T35" fmla="*/ 2147483647 h 157"/>
                    <a:gd name="T36" fmla="*/ 2147483647 w 192"/>
                    <a:gd name="T37" fmla="*/ 2147483647 h 157"/>
                    <a:gd name="T38" fmla="*/ 2147483647 w 192"/>
                    <a:gd name="T39" fmla="*/ 2147483647 h 157"/>
                    <a:gd name="T40" fmla="*/ 2147483647 w 192"/>
                    <a:gd name="T41" fmla="*/ 0 h 157"/>
                    <a:gd name="T42" fmla="*/ 2147483647 w 192"/>
                    <a:gd name="T43" fmla="*/ 2147483647 h 157"/>
                    <a:gd name="T44" fmla="*/ 2147483647 w 192"/>
                    <a:gd name="T45" fmla="*/ 2147483647 h 15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2"/>
                    <a:gd name="T70" fmla="*/ 0 h 157"/>
                    <a:gd name="T71" fmla="*/ 192 w 192"/>
                    <a:gd name="T72" fmla="*/ 157 h 15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2" h="157">
                      <a:moveTo>
                        <a:pt x="61" y="35"/>
                      </a:moveTo>
                      <a:lnTo>
                        <a:pt x="44" y="26"/>
                      </a:lnTo>
                      <a:lnTo>
                        <a:pt x="44" y="52"/>
                      </a:lnTo>
                      <a:lnTo>
                        <a:pt x="18" y="43"/>
                      </a:lnTo>
                      <a:lnTo>
                        <a:pt x="0" y="52"/>
                      </a:lnTo>
                      <a:lnTo>
                        <a:pt x="44" y="78"/>
                      </a:lnTo>
                      <a:lnTo>
                        <a:pt x="44" y="139"/>
                      </a:lnTo>
                      <a:lnTo>
                        <a:pt x="88" y="157"/>
                      </a:lnTo>
                      <a:lnTo>
                        <a:pt x="96" y="157"/>
                      </a:lnTo>
                      <a:lnTo>
                        <a:pt x="114" y="157"/>
                      </a:lnTo>
                      <a:lnTo>
                        <a:pt x="140" y="139"/>
                      </a:lnTo>
                      <a:lnTo>
                        <a:pt x="157" y="148"/>
                      </a:lnTo>
                      <a:lnTo>
                        <a:pt x="192" y="130"/>
                      </a:lnTo>
                      <a:lnTo>
                        <a:pt x="183" y="96"/>
                      </a:lnTo>
                      <a:lnTo>
                        <a:pt x="175" y="87"/>
                      </a:lnTo>
                      <a:lnTo>
                        <a:pt x="192" y="69"/>
                      </a:lnTo>
                      <a:lnTo>
                        <a:pt x="192" y="43"/>
                      </a:lnTo>
                      <a:lnTo>
                        <a:pt x="175" y="35"/>
                      </a:lnTo>
                      <a:lnTo>
                        <a:pt x="157" y="35"/>
                      </a:lnTo>
                      <a:lnTo>
                        <a:pt x="114" y="0"/>
                      </a:lnTo>
                      <a:lnTo>
                        <a:pt x="96" y="8"/>
                      </a:lnTo>
                      <a:lnTo>
                        <a:pt x="61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4" name="Freeform 305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5" name="Freeform 306"/>
                <p:cNvSpPr>
                  <a:spLocks/>
                </p:cNvSpPr>
                <p:nvPr/>
              </p:nvSpPr>
              <p:spPr bwMode="auto">
                <a:xfrm>
                  <a:off x="4455230" y="1951186"/>
                  <a:ext cx="9642" cy="27842"/>
                </a:xfrm>
                <a:custGeom>
                  <a:avLst/>
                  <a:gdLst>
                    <a:gd name="T0" fmla="*/ 2147483647 w 9"/>
                    <a:gd name="T1" fmla="*/ 0 h 26"/>
                    <a:gd name="T2" fmla="*/ 0 w 9"/>
                    <a:gd name="T3" fmla="*/ 2147483647 h 26"/>
                    <a:gd name="T4" fmla="*/ 0 w 9"/>
                    <a:gd name="T5" fmla="*/ 2147483647 h 26"/>
                    <a:gd name="T6" fmla="*/ 2147483647 w 9"/>
                    <a:gd name="T7" fmla="*/ 2147483647 h 26"/>
                    <a:gd name="T8" fmla="*/ 2147483647 w 9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26"/>
                    <a:gd name="T17" fmla="*/ 9 w 9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26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9" y="2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6" name="Freeform 309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7" name="Freeform 310"/>
                <p:cNvSpPr>
                  <a:spLocks/>
                </p:cNvSpPr>
                <p:nvPr/>
              </p:nvSpPr>
              <p:spPr bwMode="auto">
                <a:xfrm>
                  <a:off x="4202407" y="1717737"/>
                  <a:ext cx="19283" cy="27842"/>
                </a:xfrm>
                <a:custGeom>
                  <a:avLst/>
                  <a:gdLst>
                    <a:gd name="T0" fmla="*/ 2147483647 w 18"/>
                    <a:gd name="T1" fmla="*/ 0 h 26"/>
                    <a:gd name="T2" fmla="*/ 0 w 18"/>
                    <a:gd name="T3" fmla="*/ 2147483647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2147483647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18" y="26"/>
                      </a:lnTo>
                      <a:lnTo>
                        <a:pt x="18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8" name="Freeform 313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09" name="Freeform 314"/>
                <p:cNvSpPr>
                  <a:spLocks/>
                </p:cNvSpPr>
                <p:nvPr/>
              </p:nvSpPr>
              <p:spPr bwMode="auto">
                <a:xfrm>
                  <a:off x="4417735" y="1717737"/>
                  <a:ext cx="140339" cy="148851"/>
                </a:xfrm>
                <a:custGeom>
                  <a:avLst/>
                  <a:gdLst>
                    <a:gd name="T0" fmla="*/ 2147483647 w 131"/>
                    <a:gd name="T1" fmla="*/ 2147483647 h 139"/>
                    <a:gd name="T2" fmla="*/ 2147483647 w 131"/>
                    <a:gd name="T3" fmla="*/ 2147483647 h 139"/>
                    <a:gd name="T4" fmla="*/ 2147483647 w 131"/>
                    <a:gd name="T5" fmla="*/ 2147483647 h 139"/>
                    <a:gd name="T6" fmla="*/ 2147483647 w 131"/>
                    <a:gd name="T7" fmla="*/ 0 h 139"/>
                    <a:gd name="T8" fmla="*/ 2147483647 w 131"/>
                    <a:gd name="T9" fmla="*/ 0 h 139"/>
                    <a:gd name="T10" fmla="*/ 2147483647 w 131"/>
                    <a:gd name="T11" fmla="*/ 2147483647 h 139"/>
                    <a:gd name="T12" fmla="*/ 2147483647 w 131"/>
                    <a:gd name="T13" fmla="*/ 2147483647 h 139"/>
                    <a:gd name="T14" fmla="*/ 2147483647 w 131"/>
                    <a:gd name="T15" fmla="*/ 2147483647 h 139"/>
                    <a:gd name="T16" fmla="*/ 2147483647 w 131"/>
                    <a:gd name="T17" fmla="*/ 2147483647 h 139"/>
                    <a:gd name="T18" fmla="*/ 2147483647 w 131"/>
                    <a:gd name="T19" fmla="*/ 2147483647 h 139"/>
                    <a:gd name="T20" fmla="*/ 0 w 131"/>
                    <a:gd name="T21" fmla="*/ 2147483647 h 139"/>
                    <a:gd name="T22" fmla="*/ 2147483647 w 131"/>
                    <a:gd name="T23" fmla="*/ 2147483647 h 139"/>
                    <a:gd name="T24" fmla="*/ 2147483647 w 131"/>
                    <a:gd name="T25" fmla="*/ 2147483647 h 139"/>
                    <a:gd name="T26" fmla="*/ 2147483647 w 131"/>
                    <a:gd name="T27" fmla="*/ 2147483647 h 139"/>
                    <a:gd name="T28" fmla="*/ 2147483647 w 131"/>
                    <a:gd name="T29" fmla="*/ 2147483647 h 139"/>
                    <a:gd name="T30" fmla="*/ 2147483647 w 131"/>
                    <a:gd name="T31" fmla="*/ 2147483647 h 139"/>
                    <a:gd name="T32" fmla="*/ 2147483647 w 131"/>
                    <a:gd name="T33" fmla="*/ 2147483647 h 139"/>
                    <a:gd name="T34" fmla="*/ 2147483647 w 131"/>
                    <a:gd name="T35" fmla="*/ 2147483647 h 139"/>
                    <a:gd name="T36" fmla="*/ 2147483647 w 131"/>
                    <a:gd name="T37" fmla="*/ 2147483647 h 139"/>
                    <a:gd name="T38" fmla="*/ 2147483647 w 131"/>
                    <a:gd name="T39" fmla="*/ 2147483647 h 139"/>
                    <a:gd name="T40" fmla="*/ 2147483647 w 131"/>
                    <a:gd name="T41" fmla="*/ 2147483647 h 13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1"/>
                    <a:gd name="T64" fmla="*/ 0 h 139"/>
                    <a:gd name="T65" fmla="*/ 131 w 131"/>
                    <a:gd name="T66" fmla="*/ 139 h 13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1" h="139">
                      <a:moveTo>
                        <a:pt x="78" y="17"/>
                      </a:moveTo>
                      <a:lnTo>
                        <a:pt x="70" y="26"/>
                      </a:lnTo>
                      <a:lnTo>
                        <a:pt x="44" y="17"/>
                      </a:lnTo>
                      <a:lnTo>
                        <a:pt x="35" y="0"/>
                      </a:lnTo>
                      <a:lnTo>
                        <a:pt x="26" y="0"/>
                      </a:lnTo>
                      <a:lnTo>
                        <a:pt x="26" y="17"/>
                      </a:lnTo>
                      <a:lnTo>
                        <a:pt x="26" y="26"/>
                      </a:lnTo>
                      <a:lnTo>
                        <a:pt x="17" y="26"/>
                      </a:lnTo>
                      <a:lnTo>
                        <a:pt x="9" y="52"/>
                      </a:lnTo>
                      <a:lnTo>
                        <a:pt x="9" y="61"/>
                      </a:lnTo>
                      <a:lnTo>
                        <a:pt x="0" y="70"/>
                      </a:lnTo>
                      <a:lnTo>
                        <a:pt x="9" y="96"/>
                      </a:lnTo>
                      <a:lnTo>
                        <a:pt x="9" y="105"/>
                      </a:lnTo>
                      <a:lnTo>
                        <a:pt x="26" y="113"/>
                      </a:lnTo>
                      <a:lnTo>
                        <a:pt x="26" y="139"/>
                      </a:lnTo>
                      <a:lnTo>
                        <a:pt x="105" y="139"/>
                      </a:lnTo>
                      <a:lnTo>
                        <a:pt x="105" y="113"/>
                      </a:lnTo>
                      <a:lnTo>
                        <a:pt x="96" y="87"/>
                      </a:lnTo>
                      <a:lnTo>
                        <a:pt x="131" y="70"/>
                      </a:lnTo>
                      <a:lnTo>
                        <a:pt x="105" y="17"/>
                      </a:lnTo>
                      <a:lnTo>
                        <a:pt x="7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0" name="Freeform 315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1" name="Freeform 316"/>
                <p:cNvSpPr>
                  <a:spLocks/>
                </p:cNvSpPr>
                <p:nvPr/>
              </p:nvSpPr>
              <p:spPr bwMode="auto">
                <a:xfrm>
                  <a:off x="4380240" y="1745579"/>
                  <a:ext cx="55707" cy="47118"/>
                </a:xfrm>
                <a:custGeom>
                  <a:avLst/>
                  <a:gdLst>
                    <a:gd name="T0" fmla="*/ 2147483647 w 52"/>
                    <a:gd name="T1" fmla="*/ 0 h 44"/>
                    <a:gd name="T2" fmla="*/ 2147483647 w 52"/>
                    <a:gd name="T3" fmla="*/ 0 h 44"/>
                    <a:gd name="T4" fmla="*/ 2147483647 w 52"/>
                    <a:gd name="T5" fmla="*/ 2147483647 h 44"/>
                    <a:gd name="T6" fmla="*/ 2147483647 w 52"/>
                    <a:gd name="T7" fmla="*/ 2147483647 h 44"/>
                    <a:gd name="T8" fmla="*/ 2147483647 w 52"/>
                    <a:gd name="T9" fmla="*/ 2147483647 h 44"/>
                    <a:gd name="T10" fmla="*/ 0 w 52"/>
                    <a:gd name="T11" fmla="*/ 2147483647 h 44"/>
                    <a:gd name="T12" fmla="*/ 2147483647 w 52"/>
                    <a:gd name="T13" fmla="*/ 2147483647 h 44"/>
                    <a:gd name="T14" fmla="*/ 2147483647 w 52"/>
                    <a:gd name="T15" fmla="*/ 2147483647 h 44"/>
                    <a:gd name="T16" fmla="*/ 2147483647 w 52"/>
                    <a:gd name="T17" fmla="*/ 2147483647 h 44"/>
                    <a:gd name="T18" fmla="*/ 2147483647 w 52"/>
                    <a:gd name="T19" fmla="*/ 0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2"/>
                    <a:gd name="T31" fmla="*/ 0 h 44"/>
                    <a:gd name="T32" fmla="*/ 52 w 52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2" h="44">
                      <a:moveTo>
                        <a:pt x="52" y="0"/>
                      </a:move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18" y="18"/>
                      </a:lnTo>
                      <a:lnTo>
                        <a:pt x="9" y="18"/>
                      </a:lnTo>
                      <a:lnTo>
                        <a:pt x="0" y="44"/>
                      </a:lnTo>
                      <a:lnTo>
                        <a:pt x="35" y="44"/>
                      </a:lnTo>
                      <a:lnTo>
                        <a:pt x="44" y="35"/>
                      </a:lnTo>
                      <a:lnTo>
                        <a:pt x="44" y="26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2" name="Freeform 317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3" name="Freeform 318"/>
                <p:cNvSpPr>
                  <a:spLocks/>
                </p:cNvSpPr>
                <p:nvPr/>
              </p:nvSpPr>
              <p:spPr bwMode="auto">
                <a:xfrm>
                  <a:off x="4362028" y="1792697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0 w 61"/>
                    <a:gd name="T3" fmla="*/ 0 h 35"/>
                    <a:gd name="T4" fmla="*/ 2147483647 w 61"/>
                    <a:gd name="T5" fmla="*/ 2147483647 h 35"/>
                    <a:gd name="T6" fmla="*/ 2147483647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0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43" y="35"/>
                      </a:lnTo>
                      <a:lnTo>
                        <a:pt x="43" y="26"/>
                      </a:lnTo>
                      <a:lnTo>
                        <a:pt x="61" y="8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4" name="Freeform 319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5" name="Freeform 320"/>
                <p:cNvSpPr>
                  <a:spLocks/>
                </p:cNvSpPr>
                <p:nvPr/>
              </p:nvSpPr>
              <p:spPr bwMode="auto">
                <a:xfrm>
                  <a:off x="4408094" y="1801264"/>
                  <a:ext cx="19283" cy="28914"/>
                </a:xfrm>
                <a:custGeom>
                  <a:avLst/>
                  <a:gdLst>
                    <a:gd name="T0" fmla="*/ 0 w 18"/>
                    <a:gd name="T1" fmla="*/ 2147483647 h 27"/>
                    <a:gd name="T2" fmla="*/ 0 w 18"/>
                    <a:gd name="T3" fmla="*/ 2147483647 h 27"/>
                    <a:gd name="T4" fmla="*/ 2147483647 w 18"/>
                    <a:gd name="T5" fmla="*/ 2147483647 h 27"/>
                    <a:gd name="T6" fmla="*/ 2147483647 w 18"/>
                    <a:gd name="T7" fmla="*/ 2147483647 h 27"/>
                    <a:gd name="T8" fmla="*/ 2147483647 w 18"/>
                    <a:gd name="T9" fmla="*/ 0 h 27"/>
                    <a:gd name="T10" fmla="*/ 0 w 18"/>
                    <a:gd name="T11" fmla="*/ 214748364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7"/>
                    <a:gd name="T20" fmla="*/ 18 w 18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7">
                      <a:moveTo>
                        <a:pt x="0" y="18"/>
                      </a:moveTo>
                      <a:lnTo>
                        <a:pt x="0" y="27"/>
                      </a:lnTo>
                      <a:lnTo>
                        <a:pt x="18" y="27"/>
                      </a:lnTo>
                      <a:lnTo>
                        <a:pt x="18" y="18"/>
                      </a:lnTo>
                      <a:lnTo>
                        <a:pt x="18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6" name="Freeform 321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7" name="Freeform 322"/>
                <p:cNvSpPr>
                  <a:spLocks/>
                </p:cNvSpPr>
                <p:nvPr/>
              </p:nvSpPr>
              <p:spPr bwMode="auto">
                <a:xfrm>
                  <a:off x="4427376" y="1866586"/>
                  <a:ext cx="55707" cy="28914"/>
                </a:xfrm>
                <a:custGeom>
                  <a:avLst/>
                  <a:gdLst>
                    <a:gd name="T0" fmla="*/ 2147483647 w 52"/>
                    <a:gd name="T1" fmla="*/ 0 h 27"/>
                    <a:gd name="T2" fmla="*/ 0 w 52"/>
                    <a:gd name="T3" fmla="*/ 2147483647 h 27"/>
                    <a:gd name="T4" fmla="*/ 2147483647 w 52"/>
                    <a:gd name="T5" fmla="*/ 2147483647 h 27"/>
                    <a:gd name="T6" fmla="*/ 2147483647 w 52"/>
                    <a:gd name="T7" fmla="*/ 2147483647 h 27"/>
                    <a:gd name="T8" fmla="*/ 2147483647 w 52"/>
                    <a:gd name="T9" fmla="*/ 2147483647 h 27"/>
                    <a:gd name="T10" fmla="*/ 2147483647 w 52"/>
                    <a:gd name="T11" fmla="*/ 2147483647 h 27"/>
                    <a:gd name="T12" fmla="*/ 2147483647 w 52"/>
                    <a:gd name="T13" fmla="*/ 2147483647 h 27"/>
                    <a:gd name="T14" fmla="*/ 2147483647 w 52"/>
                    <a:gd name="T15" fmla="*/ 0 h 27"/>
                    <a:gd name="T16" fmla="*/ 2147483647 w 52"/>
                    <a:gd name="T17" fmla="*/ 0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2"/>
                    <a:gd name="T28" fmla="*/ 0 h 27"/>
                    <a:gd name="T29" fmla="*/ 52 w 52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2" h="27">
                      <a:moveTo>
                        <a:pt x="17" y="0"/>
                      </a:moveTo>
                      <a:lnTo>
                        <a:pt x="0" y="18"/>
                      </a:lnTo>
                      <a:lnTo>
                        <a:pt x="8" y="27"/>
                      </a:lnTo>
                      <a:lnTo>
                        <a:pt x="26" y="27"/>
                      </a:lnTo>
                      <a:lnTo>
                        <a:pt x="35" y="27"/>
                      </a:lnTo>
                      <a:lnTo>
                        <a:pt x="43" y="18"/>
                      </a:lnTo>
                      <a:lnTo>
                        <a:pt x="43" y="9"/>
                      </a:lnTo>
                      <a:lnTo>
                        <a:pt x="52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8" name="Freeform 323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19" name="Freeform 324"/>
                <p:cNvSpPr>
                  <a:spLocks/>
                </p:cNvSpPr>
                <p:nvPr/>
              </p:nvSpPr>
              <p:spPr bwMode="auto">
                <a:xfrm>
                  <a:off x="4473442" y="1838745"/>
                  <a:ext cx="122127" cy="47118"/>
                </a:xfrm>
                <a:custGeom>
                  <a:avLst/>
                  <a:gdLst>
                    <a:gd name="T0" fmla="*/ 2147483647 w 114"/>
                    <a:gd name="T1" fmla="*/ 2147483647 h 44"/>
                    <a:gd name="T2" fmla="*/ 2147483647 w 114"/>
                    <a:gd name="T3" fmla="*/ 2147483647 h 44"/>
                    <a:gd name="T4" fmla="*/ 2147483647 w 114"/>
                    <a:gd name="T5" fmla="*/ 0 h 44"/>
                    <a:gd name="T6" fmla="*/ 2147483647 w 114"/>
                    <a:gd name="T7" fmla="*/ 0 h 44"/>
                    <a:gd name="T8" fmla="*/ 2147483647 w 114"/>
                    <a:gd name="T9" fmla="*/ 2147483647 h 44"/>
                    <a:gd name="T10" fmla="*/ 2147483647 w 114"/>
                    <a:gd name="T11" fmla="*/ 2147483647 h 44"/>
                    <a:gd name="T12" fmla="*/ 0 w 114"/>
                    <a:gd name="T13" fmla="*/ 2147483647 h 44"/>
                    <a:gd name="T14" fmla="*/ 0 w 114"/>
                    <a:gd name="T15" fmla="*/ 2147483647 h 44"/>
                    <a:gd name="T16" fmla="*/ 2147483647 w 114"/>
                    <a:gd name="T17" fmla="*/ 2147483647 h 44"/>
                    <a:gd name="T18" fmla="*/ 2147483647 w 114"/>
                    <a:gd name="T19" fmla="*/ 2147483647 h 44"/>
                    <a:gd name="T20" fmla="*/ 2147483647 w 114"/>
                    <a:gd name="T21" fmla="*/ 2147483647 h 44"/>
                    <a:gd name="T22" fmla="*/ 2147483647 w 114"/>
                    <a:gd name="T23" fmla="*/ 2147483647 h 44"/>
                    <a:gd name="T24" fmla="*/ 2147483647 w 114"/>
                    <a:gd name="T25" fmla="*/ 2147483647 h 44"/>
                    <a:gd name="T26" fmla="*/ 2147483647 w 114"/>
                    <a:gd name="T27" fmla="*/ 2147483647 h 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4"/>
                    <a:gd name="T43" fmla="*/ 0 h 44"/>
                    <a:gd name="T44" fmla="*/ 114 w 114"/>
                    <a:gd name="T45" fmla="*/ 44 h 4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4" h="44">
                      <a:moveTo>
                        <a:pt x="114" y="18"/>
                      </a:moveTo>
                      <a:lnTo>
                        <a:pt x="105" y="9"/>
                      </a:lnTo>
                      <a:lnTo>
                        <a:pt x="96" y="0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0" y="44"/>
                      </a:lnTo>
                      <a:lnTo>
                        <a:pt x="9" y="35"/>
                      </a:lnTo>
                      <a:lnTo>
                        <a:pt x="35" y="35"/>
                      </a:lnTo>
                      <a:lnTo>
                        <a:pt x="44" y="44"/>
                      </a:lnTo>
                      <a:lnTo>
                        <a:pt x="61" y="44"/>
                      </a:lnTo>
                      <a:lnTo>
                        <a:pt x="96" y="35"/>
                      </a:lnTo>
                      <a:lnTo>
                        <a:pt x="114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0" name="Freeform 325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1" name="Freeform 326"/>
                <p:cNvSpPr>
                  <a:spLocks/>
                </p:cNvSpPr>
                <p:nvPr/>
              </p:nvSpPr>
              <p:spPr bwMode="auto">
                <a:xfrm>
                  <a:off x="4520578" y="1792697"/>
                  <a:ext cx="102844" cy="55685"/>
                </a:xfrm>
                <a:custGeom>
                  <a:avLst/>
                  <a:gdLst>
                    <a:gd name="T0" fmla="*/ 0 w 96"/>
                    <a:gd name="T1" fmla="*/ 2147483647 h 52"/>
                    <a:gd name="T2" fmla="*/ 2147483647 w 96"/>
                    <a:gd name="T3" fmla="*/ 2147483647 h 52"/>
                    <a:gd name="T4" fmla="*/ 2147483647 w 96"/>
                    <a:gd name="T5" fmla="*/ 2147483647 h 52"/>
                    <a:gd name="T6" fmla="*/ 2147483647 w 96"/>
                    <a:gd name="T7" fmla="*/ 2147483647 h 52"/>
                    <a:gd name="T8" fmla="*/ 2147483647 w 96"/>
                    <a:gd name="T9" fmla="*/ 2147483647 h 52"/>
                    <a:gd name="T10" fmla="*/ 2147483647 w 96"/>
                    <a:gd name="T11" fmla="*/ 2147483647 h 52"/>
                    <a:gd name="T12" fmla="*/ 2147483647 w 96"/>
                    <a:gd name="T13" fmla="*/ 2147483647 h 52"/>
                    <a:gd name="T14" fmla="*/ 2147483647 w 96"/>
                    <a:gd name="T15" fmla="*/ 0 h 52"/>
                    <a:gd name="T16" fmla="*/ 0 w 96"/>
                    <a:gd name="T17" fmla="*/ 2147483647 h 5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52"/>
                    <a:gd name="T29" fmla="*/ 96 w 96"/>
                    <a:gd name="T30" fmla="*/ 52 h 5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52">
                      <a:moveTo>
                        <a:pt x="0" y="17"/>
                      </a:moveTo>
                      <a:lnTo>
                        <a:pt x="9" y="43"/>
                      </a:lnTo>
                      <a:lnTo>
                        <a:pt x="52" y="43"/>
                      </a:lnTo>
                      <a:lnTo>
                        <a:pt x="61" y="52"/>
                      </a:lnTo>
                      <a:lnTo>
                        <a:pt x="61" y="43"/>
                      </a:lnTo>
                      <a:lnTo>
                        <a:pt x="78" y="43"/>
                      </a:lnTo>
                      <a:lnTo>
                        <a:pt x="96" y="35"/>
                      </a:lnTo>
                      <a:lnTo>
                        <a:pt x="35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2" name="Freeform 327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3" name="Freeform 328"/>
                <p:cNvSpPr>
                  <a:spLocks/>
                </p:cNvSpPr>
                <p:nvPr/>
              </p:nvSpPr>
              <p:spPr bwMode="auto">
                <a:xfrm>
                  <a:off x="4548431" y="2081831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4" name="Freeform 329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5" name="Freeform 330"/>
                <p:cNvSpPr>
                  <a:spLocks/>
                </p:cNvSpPr>
                <p:nvPr/>
              </p:nvSpPr>
              <p:spPr bwMode="auto">
                <a:xfrm>
                  <a:off x="5557583" y="1745579"/>
                  <a:ext cx="924521" cy="635024"/>
                </a:xfrm>
                <a:custGeom>
                  <a:avLst/>
                  <a:gdLst>
                    <a:gd name="T0" fmla="*/ 2147483647 w 863"/>
                    <a:gd name="T1" fmla="*/ 2147483647 h 593"/>
                    <a:gd name="T2" fmla="*/ 2147483647 w 863"/>
                    <a:gd name="T3" fmla="*/ 2147483647 h 593"/>
                    <a:gd name="T4" fmla="*/ 2147483647 w 863"/>
                    <a:gd name="T5" fmla="*/ 2147483647 h 593"/>
                    <a:gd name="T6" fmla="*/ 2147483647 w 863"/>
                    <a:gd name="T7" fmla="*/ 2147483647 h 593"/>
                    <a:gd name="T8" fmla="*/ 2147483647 w 863"/>
                    <a:gd name="T9" fmla="*/ 2147483647 h 593"/>
                    <a:gd name="T10" fmla="*/ 2147483647 w 863"/>
                    <a:gd name="T11" fmla="*/ 2147483647 h 593"/>
                    <a:gd name="T12" fmla="*/ 2147483647 w 863"/>
                    <a:gd name="T13" fmla="*/ 2147483647 h 593"/>
                    <a:gd name="T14" fmla="*/ 2147483647 w 863"/>
                    <a:gd name="T15" fmla="*/ 2147483647 h 593"/>
                    <a:gd name="T16" fmla="*/ 2147483647 w 863"/>
                    <a:gd name="T17" fmla="*/ 2147483647 h 593"/>
                    <a:gd name="T18" fmla="*/ 2147483647 w 863"/>
                    <a:gd name="T19" fmla="*/ 2147483647 h 593"/>
                    <a:gd name="T20" fmla="*/ 2147483647 w 863"/>
                    <a:gd name="T21" fmla="*/ 2147483647 h 593"/>
                    <a:gd name="T22" fmla="*/ 2147483647 w 863"/>
                    <a:gd name="T23" fmla="*/ 2147483647 h 593"/>
                    <a:gd name="T24" fmla="*/ 2147483647 w 863"/>
                    <a:gd name="T25" fmla="*/ 2147483647 h 593"/>
                    <a:gd name="T26" fmla="*/ 2147483647 w 863"/>
                    <a:gd name="T27" fmla="*/ 2147483647 h 593"/>
                    <a:gd name="T28" fmla="*/ 2147483647 w 863"/>
                    <a:gd name="T29" fmla="*/ 2147483647 h 593"/>
                    <a:gd name="T30" fmla="*/ 2147483647 w 863"/>
                    <a:gd name="T31" fmla="*/ 2147483647 h 593"/>
                    <a:gd name="T32" fmla="*/ 0 w 863"/>
                    <a:gd name="T33" fmla="*/ 2147483647 h 593"/>
                    <a:gd name="T34" fmla="*/ 2147483647 w 863"/>
                    <a:gd name="T35" fmla="*/ 2147483647 h 593"/>
                    <a:gd name="T36" fmla="*/ 2147483647 w 863"/>
                    <a:gd name="T37" fmla="*/ 2147483647 h 593"/>
                    <a:gd name="T38" fmla="*/ 2147483647 w 863"/>
                    <a:gd name="T39" fmla="*/ 2147483647 h 593"/>
                    <a:gd name="T40" fmla="*/ 2147483647 w 863"/>
                    <a:gd name="T41" fmla="*/ 2147483647 h 593"/>
                    <a:gd name="T42" fmla="*/ 2147483647 w 863"/>
                    <a:gd name="T43" fmla="*/ 2147483647 h 593"/>
                    <a:gd name="T44" fmla="*/ 2147483647 w 863"/>
                    <a:gd name="T45" fmla="*/ 2147483647 h 593"/>
                    <a:gd name="T46" fmla="*/ 2147483647 w 863"/>
                    <a:gd name="T47" fmla="*/ 2147483647 h 593"/>
                    <a:gd name="T48" fmla="*/ 2147483647 w 863"/>
                    <a:gd name="T49" fmla="*/ 2147483647 h 593"/>
                    <a:gd name="T50" fmla="*/ 2147483647 w 863"/>
                    <a:gd name="T51" fmla="*/ 2147483647 h 593"/>
                    <a:gd name="T52" fmla="*/ 2147483647 w 863"/>
                    <a:gd name="T53" fmla="*/ 2147483647 h 593"/>
                    <a:gd name="T54" fmla="*/ 2147483647 w 863"/>
                    <a:gd name="T55" fmla="*/ 2147483647 h 593"/>
                    <a:gd name="T56" fmla="*/ 2147483647 w 863"/>
                    <a:gd name="T57" fmla="*/ 2147483647 h 593"/>
                    <a:gd name="T58" fmla="*/ 2147483647 w 863"/>
                    <a:gd name="T59" fmla="*/ 2147483647 h 593"/>
                    <a:gd name="T60" fmla="*/ 2147483647 w 863"/>
                    <a:gd name="T61" fmla="*/ 2147483647 h 593"/>
                    <a:gd name="T62" fmla="*/ 2147483647 w 863"/>
                    <a:gd name="T63" fmla="*/ 2147483647 h 593"/>
                    <a:gd name="T64" fmla="*/ 2147483647 w 863"/>
                    <a:gd name="T65" fmla="*/ 2147483647 h 593"/>
                    <a:gd name="T66" fmla="*/ 2147483647 w 863"/>
                    <a:gd name="T67" fmla="*/ 2147483647 h 593"/>
                    <a:gd name="T68" fmla="*/ 2147483647 w 863"/>
                    <a:gd name="T69" fmla="*/ 2147483647 h 593"/>
                    <a:gd name="T70" fmla="*/ 2147483647 w 863"/>
                    <a:gd name="T71" fmla="*/ 2147483647 h 593"/>
                    <a:gd name="T72" fmla="*/ 2147483647 w 863"/>
                    <a:gd name="T73" fmla="*/ 2147483647 h 593"/>
                    <a:gd name="T74" fmla="*/ 2147483647 w 863"/>
                    <a:gd name="T75" fmla="*/ 2147483647 h 593"/>
                    <a:gd name="T76" fmla="*/ 2147483647 w 863"/>
                    <a:gd name="T77" fmla="*/ 2147483647 h 593"/>
                    <a:gd name="T78" fmla="*/ 2147483647 w 863"/>
                    <a:gd name="T79" fmla="*/ 2147483647 h 593"/>
                    <a:gd name="T80" fmla="*/ 2147483647 w 863"/>
                    <a:gd name="T81" fmla="*/ 2147483647 h 593"/>
                    <a:gd name="T82" fmla="*/ 2147483647 w 863"/>
                    <a:gd name="T83" fmla="*/ 2147483647 h 593"/>
                    <a:gd name="T84" fmla="*/ 2147483647 w 863"/>
                    <a:gd name="T85" fmla="*/ 2147483647 h 593"/>
                    <a:gd name="T86" fmla="*/ 2147483647 w 863"/>
                    <a:gd name="T87" fmla="*/ 2147483647 h 593"/>
                    <a:gd name="T88" fmla="*/ 2147483647 w 863"/>
                    <a:gd name="T89" fmla="*/ 2147483647 h 593"/>
                    <a:gd name="T90" fmla="*/ 2147483647 w 863"/>
                    <a:gd name="T91" fmla="*/ 2147483647 h 593"/>
                    <a:gd name="T92" fmla="*/ 2147483647 w 863"/>
                    <a:gd name="T93" fmla="*/ 2147483647 h 593"/>
                    <a:gd name="T94" fmla="*/ 2147483647 w 863"/>
                    <a:gd name="T95" fmla="*/ 2147483647 h 593"/>
                    <a:gd name="T96" fmla="*/ 2147483647 w 863"/>
                    <a:gd name="T97" fmla="*/ 2147483647 h 593"/>
                    <a:gd name="T98" fmla="*/ 2147483647 w 863"/>
                    <a:gd name="T99" fmla="*/ 2147483647 h 593"/>
                    <a:gd name="T100" fmla="*/ 2147483647 w 863"/>
                    <a:gd name="T101" fmla="*/ 2147483647 h 593"/>
                    <a:gd name="T102" fmla="*/ 2147483647 w 863"/>
                    <a:gd name="T103" fmla="*/ 2147483647 h 593"/>
                    <a:gd name="T104" fmla="*/ 2147483647 w 863"/>
                    <a:gd name="T105" fmla="*/ 2147483647 h 593"/>
                    <a:gd name="T106" fmla="*/ 2147483647 w 863"/>
                    <a:gd name="T107" fmla="*/ 2147483647 h 593"/>
                    <a:gd name="T108" fmla="*/ 2147483647 w 863"/>
                    <a:gd name="T109" fmla="*/ 2147483647 h 593"/>
                    <a:gd name="T110" fmla="*/ 2147483647 w 863"/>
                    <a:gd name="T111" fmla="*/ 2147483647 h 593"/>
                    <a:gd name="T112" fmla="*/ 2147483647 w 863"/>
                    <a:gd name="T113" fmla="*/ 2147483647 h 593"/>
                    <a:gd name="T114" fmla="*/ 2147483647 w 863"/>
                    <a:gd name="T115" fmla="*/ 2147483647 h 593"/>
                    <a:gd name="T116" fmla="*/ 2147483647 w 863"/>
                    <a:gd name="T117" fmla="*/ 2147483647 h 593"/>
                    <a:gd name="T118" fmla="*/ 2147483647 w 863"/>
                    <a:gd name="T119" fmla="*/ 2147483647 h 593"/>
                    <a:gd name="T120" fmla="*/ 2147483647 w 863"/>
                    <a:gd name="T121" fmla="*/ 2147483647 h 5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863"/>
                    <a:gd name="T184" fmla="*/ 0 h 593"/>
                    <a:gd name="T185" fmla="*/ 863 w 863"/>
                    <a:gd name="T186" fmla="*/ 593 h 5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863" h="593">
                      <a:moveTo>
                        <a:pt x="567" y="70"/>
                      </a:moveTo>
                      <a:lnTo>
                        <a:pt x="558" y="87"/>
                      </a:lnTo>
                      <a:lnTo>
                        <a:pt x="575" y="105"/>
                      </a:lnTo>
                      <a:lnTo>
                        <a:pt x="601" y="105"/>
                      </a:lnTo>
                      <a:lnTo>
                        <a:pt x="619" y="105"/>
                      </a:lnTo>
                      <a:lnTo>
                        <a:pt x="636" y="122"/>
                      </a:lnTo>
                      <a:lnTo>
                        <a:pt x="575" y="157"/>
                      </a:lnTo>
                      <a:lnTo>
                        <a:pt x="540" y="157"/>
                      </a:lnTo>
                      <a:lnTo>
                        <a:pt x="558" y="174"/>
                      </a:lnTo>
                      <a:lnTo>
                        <a:pt x="532" y="201"/>
                      </a:lnTo>
                      <a:lnTo>
                        <a:pt x="505" y="201"/>
                      </a:lnTo>
                      <a:lnTo>
                        <a:pt x="471" y="218"/>
                      </a:lnTo>
                      <a:lnTo>
                        <a:pt x="401" y="201"/>
                      </a:lnTo>
                      <a:lnTo>
                        <a:pt x="331" y="201"/>
                      </a:lnTo>
                      <a:lnTo>
                        <a:pt x="296" y="174"/>
                      </a:lnTo>
                      <a:lnTo>
                        <a:pt x="218" y="157"/>
                      </a:lnTo>
                      <a:lnTo>
                        <a:pt x="218" y="131"/>
                      </a:lnTo>
                      <a:lnTo>
                        <a:pt x="192" y="105"/>
                      </a:lnTo>
                      <a:lnTo>
                        <a:pt x="148" y="105"/>
                      </a:lnTo>
                      <a:lnTo>
                        <a:pt x="139" y="79"/>
                      </a:lnTo>
                      <a:lnTo>
                        <a:pt x="122" y="79"/>
                      </a:lnTo>
                      <a:lnTo>
                        <a:pt x="122" y="87"/>
                      </a:lnTo>
                      <a:lnTo>
                        <a:pt x="113" y="105"/>
                      </a:lnTo>
                      <a:lnTo>
                        <a:pt x="122" y="122"/>
                      </a:lnTo>
                      <a:lnTo>
                        <a:pt x="87" y="122"/>
                      </a:lnTo>
                      <a:lnTo>
                        <a:pt x="87" y="157"/>
                      </a:lnTo>
                      <a:lnTo>
                        <a:pt x="61" y="157"/>
                      </a:lnTo>
                      <a:lnTo>
                        <a:pt x="70" y="183"/>
                      </a:lnTo>
                      <a:lnTo>
                        <a:pt x="70" y="209"/>
                      </a:lnTo>
                      <a:lnTo>
                        <a:pt x="70" y="227"/>
                      </a:lnTo>
                      <a:lnTo>
                        <a:pt x="35" y="227"/>
                      </a:lnTo>
                      <a:lnTo>
                        <a:pt x="26" y="244"/>
                      </a:lnTo>
                      <a:lnTo>
                        <a:pt x="0" y="244"/>
                      </a:lnTo>
                      <a:lnTo>
                        <a:pt x="0" y="262"/>
                      </a:lnTo>
                      <a:lnTo>
                        <a:pt x="8" y="270"/>
                      </a:lnTo>
                      <a:lnTo>
                        <a:pt x="17" y="279"/>
                      </a:lnTo>
                      <a:lnTo>
                        <a:pt x="26" y="296"/>
                      </a:lnTo>
                      <a:lnTo>
                        <a:pt x="52" y="323"/>
                      </a:lnTo>
                      <a:lnTo>
                        <a:pt x="70" y="331"/>
                      </a:lnTo>
                      <a:lnTo>
                        <a:pt x="104" y="323"/>
                      </a:lnTo>
                      <a:lnTo>
                        <a:pt x="131" y="349"/>
                      </a:lnTo>
                      <a:lnTo>
                        <a:pt x="113" y="366"/>
                      </a:lnTo>
                      <a:lnTo>
                        <a:pt x="131" y="375"/>
                      </a:lnTo>
                      <a:lnTo>
                        <a:pt x="113" y="392"/>
                      </a:lnTo>
                      <a:lnTo>
                        <a:pt x="122" y="401"/>
                      </a:lnTo>
                      <a:lnTo>
                        <a:pt x="148" y="419"/>
                      </a:lnTo>
                      <a:lnTo>
                        <a:pt x="174" y="419"/>
                      </a:lnTo>
                      <a:lnTo>
                        <a:pt x="253" y="462"/>
                      </a:lnTo>
                      <a:lnTo>
                        <a:pt x="287" y="471"/>
                      </a:lnTo>
                      <a:lnTo>
                        <a:pt x="287" y="462"/>
                      </a:lnTo>
                      <a:lnTo>
                        <a:pt x="296" y="462"/>
                      </a:lnTo>
                      <a:lnTo>
                        <a:pt x="305" y="471"/>
                      </a:lnTo>
                      <a:lnTo>
                        <a:pt x="314" y="453"/>
                      </a:lnTo>
                      <a:lnTo>
                        <a:pt x="322" y="453"/>
                      </a:lnTo>
                      <a:lnTo>
                        <a:pt x="349" y="471"/>
                      </a:lnTo>
                      <a:lnTo>
                        <a:pt x="410" y="436"/>
                      </a:lnTo>
                      <a:lnTo>
                        <a:pt x="418" y="453"/>
                      </a:lnTo>
                      <a:lnTo>
                        <a:pt x="436" y="453"/>
                      </a:lnTo>
                      <a:lnTo>
                        <a:pt x="462" y="471"/>
                      </a:lnTo>
                      <a:lnTo>
                        <a:pt x="462" y="506"/>
                      </a:lnTo>
                      <a:lnTo>
                        <a:pt x="453" y="523"/>
                      </a:lnTo>
                      <a:lnTo>
                        <a:pt x="453" y="532"/>
                      </a:lnTo>
                      <a:lnTo>
                        <a:pt x="471" y="541"/>
                      </a:lnTo>
                      <a:lnTo>
                        <a:pt x="497" y="584"/>
                      </a:lnTo>
                      <a:lnTo>
                        <a:pt x="514" y="584"/>
                      </a:lnTo>
                      <a:lnTo>
                        <a:pt x="532" y="567"/>
                      </a:lnTo>
                      <a:lnTo>
                        <a:pt x="575" y="549"/>
                      </a:lnTo>
                      <a:lnTo>
                        <a:pt x="636" y="584"/>
                      </a:lnTo>
                      <a:lnTo>
                        <a:pt x="654" y="584"/>
                      </a:lnTo>
                      <a:lnTo>
                        <a:pt x="654" y="593"/>
                      </a:lnTo>
                      <a:lnTo>
                        <a:pt x="662" y="584"/>
                      </a:lnTo>
                      <a:lnTo>
                        <a:pt x="689" y="584"/>
                      </a:lnTo>
                      <a:lnTo>
                        <a:pt x="715" y="549"/>
                      </a:lnTo>
                      <a:lnTo>
                        <a:pt x="723" y="567"/>
                      </a:lnTo>
                      <a:lnTo>
                        <a:pt x="732" y="567"/>
                      </a:lnTo>
                      <a:lnTo>
                        <a:pt x="741" y="549"/>
                      </a:lnTo>
                      <a:lnTo>
                        <a:pt x="767" y="549"/>
                      </a:lnTo>
                      <a:lnTo>
                        <a:pt x="802" y="506"/>
                      </a:lnTo>
                      <a:lnTo>
                        <a:pt x="793" y="488"/>
                      </a:lnTo>
                      <a:lnTo>
                        <a:pt x="819" y="445"/>
                      </a:lnTo>
                      <a:lnTo>
                        <a:pt x="811" y="436"/>
                      </a:lnTo>
                      <a:lnTo>
                        <a:pt x="828" y="427"/>
                      </a:lnTo>
                      <a:lnTo>
                        <a:pt x="819" y="419"/>
                      </a:lnTo>
                      <a:lnTo>
                        <a:pt x="784" y="419"/>
                      </a:lnTo>
                      <a:lnTo>
                        <a:pt x="802" y="401"/>
                      </a:lnTo>
                      <a:lnTo>
                        <a:pt x="767" y="392"/>
                      </a:lnTo>
                      <a:lnTo>
                        <a:pt x="802" y="392"/>
                      </a:lnTo>
                      <a:lnTo>
                        <a:pt x="776" y="375"/>
                      </a:lnTo>
                      <a:lnTo>
                        <a:pt x="732" y="331"/>
                      </a:lnTo>
                      <a:lnTo>
                        <a:pt x="741" y="314"/>
                      </a:lnTo>
                      <a:lnTo>
                        <a:pt x="776" y="296"/>
                      </a:lnTo>
                      <a:lnTo>
                        <a:pt x="732" y="279"/>
                      </a:lnTo>
                      <a:lnTo>
                        <a:pt x="732" y="296"/>
                      </a:lnTo>
                      <a:lnTo>
                        <a:pt x="715" y="296"/>
                      </a:lnTo>
                      <a:lnTo>
                        <a:pt x="706" y="279"/>
                      </a:lnTo>
                      <a:lnTo>
                        <a:pt x="680" y="270"/>
                      </a:lnTo>
                      <a:lnTo>
                        <a:pt x="680" y="253"/>
                      </a:lnTo>
                      <a:lnTo>
                        <a:pt x="706" y="244"/>
                      </a:lnTo>
                      <a:lnTo>
                        <a:pt x="723" y="227"/>
                      </a:lnTo>
                      <a:lnTo>
                        <a:pt x="732" y="227"/>
                      </a:lnTo>
                      <a:lnTo>
                        <a:pt x="732" y="244"/>
                      </a:lnTo>
                      <a:lnTo>
                        <a:pt x="741" y="253"/>
                      </a:lnTo>
                      <a:lnTo>
                        <a:pt x="767" y="244"/>
                      </a:lnTo>
                      <a:lnTo>
                        <a:pt x="784" y="244"/>
                      </a:lnTo>
                      <a:lnTo>
                        <a:pt x="802" y="218"/>
                      </a:lnTo>
                      <a:lnTo>
                        <a:pt x="828" y="209"/>
                      </a:lnTo>
                      <a:lnTo>
                        <a:pt x="837" y="192"/>
                      </a:lnTo>
                      <a:lnTo>
                        <a:pt x="854" y="183"/>
                      </a:lnTo>
                      <a:lnTo>
                        <a:pt x="846" y="157"/>
                      </a:lnTo>
                      <a:lnTo>
                        <a:pt x="863" y="148"/>
                      </a:lnTo>
                      <a:lnTo>
                        <a:pt x="846" y="87"/>
                      </a:lnTo>
                      <a:lnTo>
                        <a:pt x="802" y="105"/>
                      </a:lnTo>
                      <a:lnTo>
                        <a:pt x="750" y="79"/>
                      </a:lnTo>
                      <a:lnTo>
                        <a:pt x="706" y="61"/>
                      </a:lnTo>
                      <a:lnTo>
                        <a:pt x="697" y="35"/>
                      </a:lnTo>
                      <a:lnTo>
                        <a:pt x="610" y="0"/>
                      </a:lnTo>
                      <a:lnTo>
                        <a:pt x="575" y="9"/>
                      </a:lnTo>
                      <a:lnTo>
                        <a:pt x="575" y="18"/>
                      </a:lnTo>
                      <a:lnTo>
                        <a:pt x="593" y="35"/>
                      </a:lnTo>
                      <a:lnTo>
                        <a:pt x="584" y="52"/>
                      </a:lnTo>
                      <a:lnTo>
                        <a:pt x="601" y="61"/>
                      </a:lnTo>
                      <a:lnTo>
                        <a:pt x="567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6" name="Freeform 331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7" name="Freeform 332"/>
                <p:cNvSpPr>
                  <a:spLocks/>
                </p:cNvSpPr>
                <p:nvPr/>
              </p:nvSpPr>
              <p:spPr bwMode="auto">
                <a:xfrm>
                  <a:off x="6238922" y="2390240"/>
                  <a:ext cx="47137" cy="36409"/>
                </a:xfrm>
                <a:custGeom>
                  <a:avLst/>
                  <a:gdLst>
                    <a:gd name="T0" fmla="*/ 2147483647 w 44"/>
                    <a:gd name="T1" fmla="*/ 2147483647 h 34"/>
                    <a:gd name="T2" fmla="*/ 2147483647 w 44"/>
                    <a:gd name="T3" fmla="*/ 2147483647 h 34"/>
                    <a:gd name="T4" fmla="*/ 2147483647 w 44"/>
                    <a:gd name="T5" fmla="*/ 2147483647 h 34"/>
                    <a:gd name="T6" fmla="*/ 2147483647 w 44"/>
                    <a:gd name="T7" fmla="*/ 0 h 34"/>
                    <a:gd name="T8" fmla="*/ 2147483647 w 44"/>
                    <a:gd name="T9" fmla="*/ 0 h 34"/>
                    <a:gd name="T10" fmla="*/ 0 w 44"/>
                    <a:gd name="T11" fmla="*/ 2147483647 h 34"/>
                    <a:gd name="T12" fmla="*/ 2147483647 w 44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4"/>
                    <a:gd name="T22" fmla="*/ 0 h 34"/>
                    <a:gd name="T23" fmla="*/ 44 w 44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4" h="34">
                      <a:moveTo>
                        <a:pt x="18" y="34"/>
                      </a:moveTo>
                      <a:lnTo>
                        <a:pt x="35" y="34"/>
                      </a:lnTo>
                      <a:lnTo>
                        <a:pt x="44" y="17"/>
                      </a:lnTo>
                      <a:lnTo>
                        <a:pt x="44" y="0"/>
                      </a:lnTo>
                      <a:lnTo>
                        <a:pt x="18" y="0"/>
                      </a:lnTo>
                      <a:lnTo>
                        <a:pt x="0" y="26"/>
                      </a:lnTo>
                      <a:lnTo>
                        <a:pt x="18" y="3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8" name="Freeform 333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29" name="Freeform 334"/>
                <p:cNvSpPr>
                  <a:spLocks/>
                </p:cNvSpPr>
                <p:nvPr/>
              </p:nvSpPr>
              <p:spPr bwMode="auto">
                <a:xfrm>
                  <a:off x="5520089" y="2091469"/>
                  <a:ext cx="504576" cy="540787"/>
                </a:xfrm>
                <a:custGeom>
                  <a:avLst/>
                  <a:gdLst>
                    <a:gd name="T0" fmla="*/ 2147483647 w 471"/>
                    <a:gd name="T1" fmla="*/ 2147483647 h 505"/>
                    <a:gd name="T2" fmla="*/ 2147483647 w 471"/>
                    <a:gd name="T3" fmla="*/ 2147483647 h 505"/>
                    <a:gd name="T4" fmla="*/ 2147483647 w 471"/>
                    <a:gd name="T5" fmla="*/ 2147483647 h 505"/>
                    <a:gd name="T6" fmla="*/ 2147483647 w 471"/>
                    <a:gd name="T7" fmla="*/ 2147483647 h 505"/>
                    <a:gd name="T8" fmla="*/ 2147483647 w 471"/>
                    <a:gd name="T9" fmla="*/ 2147483647 h 505"/>
                    <a:gd name="T10" fmla="*/ 2147483647 w 471"/>
                    <a:gd name="T11" fmla="*/ 2147483647 h 505"/>
                    <a:gd name="T12" fmla="*/ 2147483647 w 471"/>
                    <a:gd name="T13" fmla="*/ 2147483647 h 505"/>
                    <a:gd name="T14" fmla="*/ 2147483647 w 471"/>
                    <a:gd name="T15" fmla="*/ 2147483647 h 505"/>
                    <a:gd name="T16" fmla="*/ 2147483647 w 471"/>
                    <a:gd name="T17" fmla="*/ 2147483647 h 505"/>
                    <a:gd name="T18" fmla="*/ 2147483647 w 471"/>
                    <a:gd name="T19" fmla="*/ 2147483647 h 505"/>
                    <a:gd name="T20" fmla="*/ 2147483647 w 471"/>
                    <a:gd name="T21" fmla="*/ 2147483647 h 505"/>
                    <a:gd name="T22" fmla="*/ 2147483647 w 471"/>
                    <a:gd name="T23" fmla="*/ 2147483647 h 505"/>
                    <a:gd name="T24" fmla="*/ 2147483647 w 471"/>
                    <a:gd name="T25" fmla="*/ 2147483647 h 505"/>
                    <a:gd name="T26" fmla="*/ 2147483647 w 471"/>
                    <a:gd name="T27" fmla="*/ 2147483647 h 505"/>
                    <a:gd name="T28" fmla="*/ 2147483647 w 471"/>
                    <a:gd name="T29" fmla="*/ 2147483647 h 505"/>
                    <a:gd name="T30" fmla="*/ 2147483647 w 471"/>
                    <a:gd name="T31" fmla="*/ 2147483647 h 505"/>
                    <a:gd name="T32" fmla="*/ 2147483647 w 471"/>
                    <a:gd name="T33" fmla="*/ 2147483647 h 505"/>
                    <a:gd name="T34" fmla="*/ 2147483647 w 471"/>
                    <a:gd name="T35" fmla="*/ 2147483647 h 505"/>
                    <a:gd name="T36" fmla="*/ 2147483647 w 471"/>
                    <a:gd name="T37" fmla="*/ 2147483647 h 505"/>
                    <a:gd name="T38" fmla="*/ 2147483647 w 471"/>
                    <a:gd name="T39" fmla="*/ 2147483647 h 505"/>
                    <a:gd name="T40" fmla="*/ 2147483647 w 471"/>
                    <a:gd name="T41" fmla="*/ 2147483647 h 505"/>
                    <a:gd name="T42" fmla="*/ 2147483647 w 471"/>
                    <a:gd name="T43" fmla="*/ 2147483647 h 505"/>
                    <a:gd name="T44" fmla="*/ 2147483647 w 471"/>
                    <a:gd name="T45" fmla="*/ 2147483647 h 505"/>
                    <a:gd name="T46" fmla="*/ 2147483647 w 471"/>
                    <a:gd name="T47" fmla="*/ 2147483647 h 505"/>
                    <a:gd name="T48" fmla="*/ 2147483647 w 471"/>
                    <a:gd name="T49" fmla="*/ 2147483647 h 505"/>
                    <a:gd name="T50" fmla="*/ 2147483647 w 471"/>
                    <a:gd name="T51" fmla="*/ 2147483647 h 505"/>
                    <a:gd name="T52" fmla="*/ 2147483647 w 471"/>
                    <a:gd name="T53" fmla="*/ 2147483647 h 505"/>
                    <a:gd name="T54" fmla="*/ 2147483647 w 471"/>
                    <a:gd name="T55" fmla="*/ 2147483647 h 505"/>
                    <a:gd name="T56" fmla="*/ 2147483647 w 471"/>
                    <a:gd name="T57" fmla="*/ 2147483647 h 505"/>
                    <a:gd name="T58" fmla="*/ 2147483647 w 471"/>
                    <a:gd name="T59" fmla="*/ 2147483647 h 505"/>
                    <a:gd name="T60" fmla="*/ 2147483647 w 471"/>
                    <a:gd name="T61" fmla="*/ 2147483647 h 505"/>
                    <a:gd name="T62" fmla="*/ 2147483647 w 471"/>
                    <a:gd name="T63" fmla="*/ 2147483647 h 505"/>
                    <a:gd name="T64" fmla="*/ 2147483647 w 471"/>
                    <a:gd name="T65" fmla="*/ 2147483647 h 505"/>
                    <a:gd name="T66" fmla="*/ 2147483647 w 471"/>
                    <a:gd name="T67" fmla="*/ 2147483647 h 505"/>
                    <a:gd name="T68" fmla="*/ 2147483647 w 471"/>
                    <a:gd name="T69" fmla="*/ 2147483647 h 505"/>
                    <a:gd name="T70" fmla="*/ 2147483647 w 471"/>
                    <a:gd name="T71" fmla="*/ 2147483647 h 505"/>
                    <a:gd name="T72" fmla="*/ 2147483647 w 471"/>
                    <a:gd name="T73" fmla="*/ 2147483647 h 505"/>
                    <a:gd name="T74" fmla="*/ 2147483647 w 471"/>
                    <a:gd name="T75" fmla="*/ 2147483647 h 505"/>
                    <a:gd name="T76" fmla="*/ 2147483647 w 471"/>
                    <a:gd name="T77" fmla="*/ 2147483647 h 505"/>
                    <a:gd name="T78" fmla="*/ 2147483647 w 471"/>
                    <a:gd name="T79" fmla="*/ 2147483647 h 505"/>
                    <a:gd name="T80" fmla="*/ 2147483647 w 471"/>
                    <a:gd name="T81" fmla="*/ 2147483647 h 50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71"/>
                    <a:gd name="T124" fmla="*/ 0 h 505"/>
                    <a:gd name="T125" fmla="*/ 471 w 471"/>
                    <a:gd name="T126" fmla="*/ 505 h 50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71" h="505">
                      <a:moveTo>
                        <a:pt x="340" y="148"/>
                      </a:moveTo>
                      <a:lnTo>
                        <a:pt x="331" y="139"/>
                      </a:lnTo>
                      <a:lnTo>
                        <a:pt x="314" y="139"/>
                      </a:lnTo>
                      <a:lnTo>
                        <a:pt x="314" y="157"/>
                      </a:lnTo>
                      <a:lnTo>
                        <a:pt x="322" y="183"/>
                      </a:lnTo>
                      <a:lnTo>
                        <a:pt x="279" y="165"/>
                      </a:lnTo>
                      <a:lnTo>
                        <a:pt x="261" y="157"/>
                      </a:lnTo>
                      <a:lnTo>
                        <a:pt x="235" y="157"/>
                      </a:lnTo>
                      <a:lnTo>
                        <a:pt x="227" y="148"/>
                      </a:lnTo>
                      <a:lnTo>
                        <a:pt x="183" y="139"/>
                      </a:lnTo>
                      <a:lnTo>
                        <a:pt x="183" y="96"/>
                      </a:lnTo>
                      <a:lnTo>
                        <a:pt x="157" y="78"/>
                      </a:lnTo>
                      <a:lnTo>
                        <a:pt x="139" y="69"/>
                      </a:lnTo>
                      <a:lnTo>
                        <a:pt x="157" y="52"/>
                      </a:lnTo>
                      <a:lnTo>
                        <a:pt x="148" y="43"/>
                      </a:lnTo>
                      <a:lnTo>
                        <a:pt x="157" y="26"/>
                      </a:lnTo>
                      <a:lnTo>
                        <a:pt x="139" y="0"/>
                      </a:lnTo>
                      <a:lnTo>
                        <a:pt x="105" y="8"/>
                      </a:lnTo>
                      <a:lnTo>
                        <a:pt x="105" y="17"/>
                      </a:lnTo>
                      <a:lnTo>
                        <a:pt x="61" y="26"/>
                      </a:lnTo>
                      <a:lnTo>
                        <a:pt x="61" y="43"/>
                      </a:lnTo>
                      <a:lnTo>
                        <a:pt x="87" y="69"/>
                      </a:lnTo>
                      <a:lnTo>
                        <a:pt x="78" y="78"/>
                      </a:lnTo>
                      <a:lnTo>
                        <a:pt x="78" y="96"/>
                      </a:lnTo>
                      <a:lnTo>
                        <a:pt x="43" y="148"/>
                      </a:lnTo>
                      <a:lnTo>
                        <a:pt x="17" y="157"/>
                      </a:lnTo>
                      <a:lnTo>
                        <a:pt x="52" y="200"/>
                      </a:lnTo>
                      <a:lnTo>
                        <a:pt x="35" y="209"/>
                      </a:lnTo>
                      <a:lnTo>
                        <a:pt x="0" y="218"/>
                      </a:lnTo>
                      <a:lnTo>
                        <a:pt x="9" y="235"/>
                      </a:lnTo>
                      <a:lnTo>
                        <a:pt x="35" y="235"/>
                      </a:lnTo>
                      <a:lnTo>
                        <a:pt x="17" y="244"/>
                      </a:lnTo>
                      <a:lnTo>
                        <a:pt x="35" y="279"/>
                      </a:lnTo>
                      <a:lnTo>
                        <a:pt x="52" y="261"/>
                      </a:lnTo>
                      <a:lnTo>
                        <a:pt x="70" y="244"/>
                      </a:lnTo>
                      <a:lnTo>
                        <a:pt x="78" y="261"/>
                      </a:lnTo>
                      <a:lnTo>
                        <a:pt x="87" y="261"/>
                      </a:lnTo>
                      <a:lnTo>
                        <a:pt x="87" y="340"/>
                      </a:lnTo>
                      <a:lnTo>
                        <a:pt x="113" y="383"/>
                      </a:lnTo>
                      <a:lnTo>
                        <a:pt x="122" y="409"/>
                      </a:lnTo>
                      <a:lnTo>
                        <a:pt x="166" y="488"/>
                      </a:lnTo>
                      <a:lnTo>
                        <a:pt x="183" y="505"/>
                      </a:lnTo>
                      <a:lnTo>
                        <a:pt x="209" y="488"/>
                      </a:lnTo>
                      <a:lnTo>
                        <a:pt x="200" y="479"/>
                      </a:lnTo>
                      <a:lnTo>
                        <a:pt x="209" y="470"/>
                      </a:lnTo>
                      <a:lnTo>
                        <a:pt x="209" y="453"/>
                      </a:lnTo>
                      <a:lnTo>
                        <a:pt x="209" y="444"/>
                      </a:lnTo>
                      <a:lnTo>
                        <a:pt x="227" y="409"/>
                      </a:lnTo>
                      <a:lnTo>
                        <a:pt x="218" y="401"/>
                      </a:lnTo>
                      <a:lnTo>
                        <a:pt x="218" y="366"/>
                      </a:lnTo>
                      <a:lnTo>
                        <a:pt x="235" y="357"/>
                      </a:lnTo>
                      <a:lnTo>
                        <a:pt x="279" y="313"/>
                      </a:lnTo>
                      <a:lnTo>
                        <a:pt x="279" y="305"/>
                      </a:lnTo>
                      <a:lnTo>
                        <a:pt x="314" y="279"/>
                      </a:lnTo>
                      <a:lnTo>
                        <a:pt x="314" y="270"/>
                      </a:lnTo>
                      <a:lnTo>
                        <a:pt x="331" y="261"/>
                      </a:lnTo>
                      <a:lnTo>
                        <a:pt x="357" y="261"/>
                      </a:lnTo>
                      <a:lnTo>
                        <a:pt x="349" y="226"/>
                      </a:lnTo>
                      <a:lnTo>
                        <a:pt x="331" y="218"/>
                      </a:lnTo>
                      <a:lnTo>
                        <a:pt x="340" y="200"/>
                      </a:lnTo>
                      <a:lnTo>
                        <a:pt x="331" y="191"/>
                      </a:lnTo>
                      <a:lnTo>
                        <a:pt x="331" y="183"/>
                      </a:lnTo>
                      <a:lnTo>
                        <a:pt x="349" y="183"/>
                      </a:lnTo>
                      <a:lnTo>
                        <a:pt x="357" y="200"/>
                      </a:lnTo>
                      <a:lnTo>
                        <a:pt x="401" y="200"/>
                      </a:lnTo>
                      <a:lnTo>
                        <a:pt x="384" y="226"/>
                      </a:lnTo>
                      <a:lnTo>
                        <a:pt x="401" y="235"/>
                      </a:lnTo>
                      <a:lnTo>
                        <a:pt x="401" y="226"/>
                      </a:lnTo>
                      <a:lnTo>
                        <a:pt x="410" y="252"/>
                      </a:lnTo>
                      <a:lnTo>
                        <a:pt x="427" y="218"/>
                      </a:lnTo>
                      <a:lnTo>
                        <a:pt x="436" y="209"/>
                      </a:lnTo>
                      <a:lnTo>
                        <a:pt x="445" y="165"/>
                      </a:lnTo>
                      <a:lnTo>
                        <a:pt x="462" y="157"/>
                      </a:lnTo>
                      <a:lnTo>
                        <a:pt x="471" y="139"/>
                      </a:lnTo>
                      <a:lnTo>
                        <a:pt x="453" y="130"/>
                      </a:lnTo>
                      <a:lnTo>
                        <a:pt x="436" y="113"/>
                      </a:lnTo>
                      <a:lnTo>
                        <a:pt x="384" y="148"/>
                      </a:lnTo>
                      <a:lnTo>
                        <a:pt x="366" y="165"/>
                      </a:lnTo>
                      <a:lnTo>
                        <a:pt x="357" y="174"/>
                      </a:lnTo>
                      <a:lnTo>
                        <a:pt x="357" y="165"/>
                      </a:lnTo>
                      <a:lnTo>
                        <a:pt x="331" y="157"/>
                      </a:lnTo>
                      <a:lnTo>
                        <a:pt x="340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0" name="Freeform 335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1" name="Freeform 336"/>
                <p:cNvSpPr>
                  <a:spLocks/>
                </p:cNvSpPr>
                <p:nvPr/>
              </p:nvSpPr>
              <p:spPr bwMode="auto">
                <a:xfrm>
                  <a:off x="6725286" y="1885863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8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2" name="Freeform 337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3" name="Freeform 338"/>
                <p:cNvSpPr>
                  <a:spLocks/>
                </p:cNvSpPr>
                <p:nvPr/>
              </p:nvSpPr>
              <p:spPr bwMode="auto">
                <a:xfrm>
                  <a:off x="6696362" y="1895501"/>
                  <a:ext cx="19283" cy="18205"/>
                </a:xfrm>
                <a:custGeom>
                  <a:avLst/>
                  <a:gdLst>
                    <a:gd name="T0" fmla="*/ 0 w 18"/>
                    <a:gd name="T1" fmla="*/ 2147483647 h 17"/>
                    <a:gd name="T2" fmla="*/ 2147483647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8"/>
                      </a:moveTo>
                      <a:lnTo>
                        <a:pt x="9" y="17"/>
                      </a:lnTo>
                      <a:lnTo>
                        <a:pt x="1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4" name="Freeform 339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5" name="Freeform 340"/>
                <p:cNvSpPr>
                  <a:spLocks/>
                </p:cNvSpPr>
                <p:nvPr/>
              </p:nvSpPr>
              <p:spPr bwMode="auto">
                <a:xfrm>
                  <a:off x="6603159" y="1895501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2147483647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0 h 78"/>
                    <a:gd name="T16" fmla="*/ 0 w 96"/>
                    <a:gd name="T17" fmla="*/ 0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2147483647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2147483647 w 96"/>
                    <a:gd name="T45" fmla="*/ 2147483647 h 78"/>
                    <a:gd name="T46" fmla="*/ 2147483647 w 96"/>
                    <a:gd name="T47" fmla="*/ 2147483647 h 78"/>
                    <a:gd name="T48" fmla="*/ 2147483647 w 96"/>
                    <a:gd name="T49" fmla="*/ 2147483647 h 78"/>
                    <a:gd name="T50" fmla="*/ 2147483647 w 96"/>
                    <a:gd name="T51" fmla="*/ 2147483647 h 78"/>
                    <a:gd name="T52" fmla="*/ 2147483647 w 96"/>
                    <a:gd name="T53" fmla="*/ 2147483647 h 78"/>
                    <a:gd name="T54" fmla="*/ 2147483647 w 96"/>
                    <a:gd name="T55" fmla="*/ 2147483647 h 78"/>
                    <a:gd name="T56" fmla="*/ 2147483647 w 96"/>
                    <a:gd name="T57" fmla="*/ 2147483647 h 78"/>
                    <a:gd name="T58" fmla="*/ 2147483647 w 96"/>
                    <a:gd name="T59" fmla="*/ 2147483647 h 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6"/>
                    <a:gd name="T91" fmla="*/ 0 h 78"/>
                    <a:gd name="T92" fmla="*/ 96 w 96"/>
                    <a:gd name="T93" fmla="*/ 78 h 7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6" h="78">
                      <a:moveTo>
                        <a:pt x="96" y="43"/>
                      </a:moveTo>
                      <a:lnTo>
                        <a:pt x="79" y="34"/>
                      </a:lnTo>
                      <a:lnTo>
                        <a:pt x="87" y="17"/>
                      </a:lnTo>
                      <a:lnTo>
                        <a:pt x="70" y="26"/>
                      </a:lnTo>
                      <a:lnTo>
                        <a:pt x="70" y="17"/>
                      </a:lnTo>
                      <a:lnTo>
                        <a:pt x="70" y="26"/>
                      </a:lnTo>
                      <a:lnTo>
                        <a:pt x="26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lnTo>
                        <a:pt x="18" y="34"/>
                      </a:lnTo>
                      <a:lnTo>
                        <a:pt x="26" y="34"/>
                      </a:lnTo>
                      <a:lnTo>
                        <a:pt x="26" y="43"/>
                      </a:lnTo>
                      <a:lnTo>
                        <a:pt x="9" y="43"/>
                      </a:lnTo>
                      <a:lnTo>
                        <a:pt x="9" y="61"/>
                      </a:lnTo>
                      <a:lnTo>
                        <a:pt x="18" y="69"/>
                      </a:lnTo>
                      <a:lnTo>
                        <a:pt x="18" y="78"/>
                      </a:lnTo>
                      <a:lnTo>
                        <a:pt x="44" y="69"/>
                      </a:lnTo>
                      <a:lnTo>
                        <a:pt x="26" y="61"/>
                      </a:lnTo>
                      <a:lnTo>
                        <a:pt x="26" y="52"/>
                      </a:lnTo>
                      <a:lnTo>
                        <a:pt x="35" y="52"/>
                      </a:lnTo>
                      <a:lnTo>
                        <a:pt x="44" y="52"/>
                      </a:lnTo>
                      <a:lnTo>
                        <a:pt x="53" y="52"/>
                      </a:lnTo>
                      <a:lnTo>
                        <a:pt x="53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70" y="43"/>
                      </a:lnTo>
                      <a:lnTo>
                        <a:pt x="96" y="4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6" name="Freeform 341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7" name="Freeform 342"/>
                <p:cNvSpPr>
                  <a:spLocks/>
                </p:cNvSpPr>
                <p:nvPr/>
              </p:nvSpPr>
              <p:spPr bwMode="auto">
                <a:xfrm>
                  <a:off x="6557094" y="1969390"/>
                  <a:ext cx="148909" cy="158488"/>
                </a:xfrm>
                <a:custGeom>
                  <a:avLst/>
                  <a:gdLst>
                    <a:gd name="T0" fmla="*/ 2147483647 w 139"/>
                    <a:gd name="T1" fmla="*/ 2147483647 h 148"/>
                    <a:gd name="T2" fmla="*/ 2147483647 w 139"/>
                    <a:gd name="T3" fmla="*/ 2147483647 h 148"/>
                    <a:gd name="T4" fmla="*/ 2147483647 w 139"/>
                    <a:gd name="T5" fmla="*/ 2147483647 h 148"/>
                    <a:gd name="T6" fmla="*/ 2147483647 w 139"/>
                    <a:gd name="T7" fmla="*/ 2147483647 h 148"/>
                    <a:gd name="T8" fmla="*/ 2147483647 w 139"/>
                    <a:gd name="T9" fmla="*/ 2147483647 h 148"/>
                    <a:gd name="T10" fmla="*/ 2147483647 w 139"/>
                    <a:gd name="T11" fmla="*/ 2147483647 h 148"/>
                    <a:gd name="T12" fmla="*/ 2147483647 w 139"/>
                    <a:gd name="T13" fmla="*/ 0 h 148"/>
                    <a:gd name="T14" fmla="*/ 2147483647 w 139"/>
                    <a:gd name="T15" fmla="*/ 2147483647 h 148"/>
                    <a:gd name="T16" fmla="*/ 2147483647 w 139"/>
                    <a:gd name="T17" fmla="*/ 2147483647 h 148"/>
                    <a:gd name="T18" fmla="*/ 2147483647 w 139"/>
                    <a:gd name="T19" fmla="*/ 2147483647 h 148"/>
                    <a:gd name="T20" fmla="*/ 2147483647 w 139"/>
                    <a:gd name="T21" fmla="*/ 2147483647 h 148"/>
                    <a:gd name="T22" fmla="*/ 2147483647 w 139"/>
                    <a:gd name="T23" fmla="*/ 2147483647 h 148"/>
                    <a:gd name="T24" fmla="*/ 2147483647 w 139"/>
                    <a:gd name="T25" fmla="*/ 2147483647 h 148"/>
                    <a:gd name="T26" fmla="*/ 2147483647 w 139"/>
                    <a:gd name="T27" fmla="*/ 2147483647 h 148"/>
                    <a:gd name="T28" fmla="*/ 2147483647 w 139"/>
                    <a:gd name="T29" fmla="*/ 2147483647 h 148"/>
                    <a:gd name="T30" fmla="*/ 2147483647 w 139"/>
                    <a:gd name="T31" fmla="*/ 2147483647 h 148"/>
                    <a:gd name="T32" fmla="*/ 2147483647 w 139"/>
                    <a:gd name="T33" fmla="*/ 2147483647 h 148"/>
                    <a:gd name="T34" fmla="*/ 2147483647 w 139"/>
                    <a:gd name="T35" fmla="*/ 2147483647 h 148"/>
                    <a:gd name="T36" fmla="*/ 2147483647 w 139"/>
                    <a:gd name="T37" fmla="*/ 2147483647 h 148"/>
                    <a:gd name="T38" fmla="*/ 2147483647 w 139"/>
                    <a:gd name="T39" fmla="*/ 2147483647 h 148"/>
                    <a:gd name="T40" fmla="*/ 2147483647 w 139"/>
                    <a:gd name="T41" fmla="*/ 2147483647 h 148"/>
                    <a:gd name="T42" fmla="*/ 2147483647 w 139"/>
                    <a:gd name="T43" fmla="*/ 2147483647 h 148"/>
                    <a:gd name="T44" fmla="*/ 0 w 139"/>
                    <a:gd name="T45" fmla="*/ 2147483647 h 148"/>
                    <a:gd name="T46" fmla="*/ 0 w 139"/>
                    <a:gd name="T47" fmla="*/ 2147483647 h 148"/>
                    <a:gd name="T48" fmla="*/ 2147483647 w 139"/>
                    <a:gd name="T49" fmla="*/ 2147483647 h 148"/>
                    <a:gd name="T50" fmla="*/ 2147483647 w 139"/>
                    <a:gd name="T51" fmla="*/ 2147483647 h 148"/>
                    <a:gd name="T52" fmla="*/ 2147483647 w 139"/>
                    <a:gd name="T53" fmla="*/ 2147483647 h 148"/>
                    <a:gd name="T54" fmla="*/ 2147483647 w 139"/>
                    <a:gd name="T55" fmla="*/ 2147483647 h 148"/>
                    <a:gd name="T56" fmla="*/ 2147483647 w 139"/>
                    <a:gd name="T57" fmla="*/ 2147483647 h 148"/>
                    <a:gd name="T58" fmla="*/ 2147483647 w 139"/>
                    <a:gd name="T59" fmla="*/ 2147483647 h 148"/>
                    <a:gd name="T60" fmla="*/ 2147483647 w 139"/>
                    <a:gd name="T61" fmla="*/ 2147483647 h 148"/>
                    <a:gd name="T62" fmla="*/ 2147483647 w 139"/>
                    <a:gd name="T63" fmla="*/ 2147483647 h 148"/>
                    <a:gd name="T64" fmla="*/ 2147483647 w 139"/>
                    <a:gd name="T65" fmla="*/ 2147483647 h 148"/>
                    <a:gd name="T66" fmla="*/ 2147483647 w 139"/>
                    <a:gd name="T67" fmla="*/ 2147483647 h 148"/>
                    <a:gd name="T68" fmla="*/ 2147483647 w 139"/>
                    <a:gd name="T69" fmla="*/ 2147483647 h 148"/>
                    <a:gd name="T70" fmla="*/ 2147483647 w 139"/>
                    <a:gd name="T71" fmla="*/ 2147483647 h 148"/>
                    <a:gd name="T72" fmla="*/ 2147483647 w 139"/>
                    <a:gd name="T73" fmla="*/ 2147483647 h 148"/>
                    <a:gd name="T74" fmla="*/ 2147483647 w 139"/>
                    <a:gd name="T75" fmla="*/ 2147483647 h 148"/>
                    <a:gd name="T76" fmla="*/ 2147483647 w 139"/>
                    <a:gd name="T77" fmla="*/ 2147483647 h 148"/>
                    <a:gd name="T78" fmla="*/ 2147483647 w 139"/>
                    <a:gd name="T79" fmla="*/ 2147483647 h 148"/>
                    <a:gd name="T80" fmla="*/ 2147483647 w 139"/>
                    <a:gd name="T81" fmla="*/ 2147483647 h 148"/>
                    <a:gd name="T82" fmla="*/ 2147483647 w 139"/>
                    <a:gd name="T83" fmla="*/ 2147483647 h 148"/>
                    <a:gd name="T84" fmla="*/ 2147483647 w 139"/>
                    <a:gd name="T85" fmla="*/ 2147483647 h 1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39"/>
                    <a:gd name="T130" fmla="*/ 0 h 148"/>
                    <a:gd name="T131" fmla="*/ 139 w 139"/>
                    <a:gd name="T132" fmla="*/ 148 h 1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39" h="148">
                      <a:moveTo>
                        <a:pt x="130" y="70"/>
                      </a:moveTo>
                      <a:lnTo>
                        <a:pt x="113" y="61"/>
                      </a:lnTo>
                      <a:lnTo>
                        <a:pt x="122" y="53"/>
                      </a:lnTo>
                      <a:lnTo>
                        <a:pt x="122" y="44"/>
                      </a:lnTo>
                      <a:lnTo>
                        <a:pt x="122" y="26"/>
                      </a:lnTo>
                      <a:lnTo>
                        <a:pt x="96" y="9"/>
                      </a:lnTo>
                      <a:lnTo>
                        <a:pt x="96" y="0"/>
                      </a:lnTo>
                      <a:lnTo>
                        <a:pt x="87" y="9"/>
                      </a:lnTo>
                      <a:lnTo>
                        <a:pt x="78" y="18"/>
                      </a:lnTo>
                      <a:lnTo>
                        <a:pt x="87" y="44"/>
                      </a:lnTo>
                      <a:lnTo>
                        <a:pt x="96" y="70"/>
                      </a:lnTo>
                      <a:lnTo>
                        <a:pt x="87" y="61"/>
                      </a:lnTo>
                      <a:lnTo>
                        <a:pt x="87" y="70"/>
                      </a:lnTo>
                      <a:lnTo>
                        <a:pt x="69" y="79"/>
                      </a:lnTo>
                      <a:lnTo>
                        <a:pt x="69" y="96"/>
                      </a:lnTo>
                      <a:lnTo>
                        <a:pt x="61" y="105"/>
                      </a:lnTo>
                      <a:lnTo>
                        <a:pt x="69" y="105"/>
                      </a:lnTo>
                      <a:lnTo>
                        <a:pt x="61" y="114"/>
                      </a:lnTo>
                      <a:lnTo>
                        <a:pt x="52" y="105"/>
                      </a:lnTo>
                      <a:lnTo>
                        <a:pt x="26" y="105"/>
                      </a:lnTo>
                      <a:lnTo>
                        <a:pt x="8" y="122"/>
                      </a:lnTo>
                      <a:lnTo>
                        <a:pt x="0" y="122"/>
                      </a:lnTo>
                      <a:lnTo>
                        <a:pt x="0" y="140"/>
                      </a:lnTo>
                      <a:lnTo>
                        <a:pt x="17" y="140"/>
                      </a:lnTo>
                      <a:lnTo>
                        <a:pt x="52" y="122"/>
                      </a:lnTo>
                      <a:lnTo>
                        <a:pt x="61" y="131"/>
                      </a:lnTo>
                      <a:lnTo>
                        <a:pt x="69" y="148"/>
                      </a:lnTo>
                      <a:lnTo>
                        <a:pt x="87" y="148"/>
                      </a:lnTo>
                      <a:lnTo>
                        <a:pt x="87" y="122"/>
                      </a:lnTo>
                      <a:lnTo>
                        <a:pt x="96" y="122"/>
                      </a:lnTo>
                      <a:lnTo>
                        <a:pt x="96" y="131"/>
                      </a:lnTo>
                      <a:lnTo>
                        <a:pt x="113" y="131"/>
                      </a:lnTo>
                      <a:lnTo>
                        <a:pt x="113" y="122"/>
                      </a:lnTo>
                      <a:lnTo>
                        <a:pt x="122" y="131"/>
                      </a:lnTo>
                      <a:lnTo>
                        <a:pt x="122" y="114"/>
                      </a:lnTo>
                      <a:lnTo>
                        <a:pt x="130" y="105"/>
                      </a:lnTo>
                      <a:lnTo>
                        <a:pt x="139" y="122"/>
                      </a:lnTo>
                      <a:lnTo>
                        <a:pt x="139" y="105"/>
                      </a:lnTo>
                      <a:lnTo>
                        <a:pt x="130" y="96"/>
                      </a:lnTo>
                      <a:lnTo>
                        <a:pt x="130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8" name="Freeform 343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39" name="Freeform 344"/>
                <p:cNvSpPr>
                  <a:spLocks/>
                </p:cNvSpPr>
                <p:nvPr/>
              </p:nvSpPr>
              <p:spPr bwMode="auto">
                <a:xfrm>
                  <a:off x="6575306" y="2119311"/>
                  <a:ext cx="47137" cy="27842"/>
                </a:xfrm>
                <a:custGeom>
                  <a:avLst/>
                  <a:gdLst>
                    <a:gd name="T0" fmla="*/ 2147483647 w 44"/>
                    <a:gd name="T1" fmla="*/ 0 h 26"/>
                    <a:gd name="T2" fmla="*/ 2147483647 w 44"/>
                    <a:gd name="T3" fmla="*/ 0 h 26"/>
                    <a:gd name="T4" fmla="*/ 2147483647 w 44"/>
                    <a:gd name="T5" fmla="*/ 0 h 26"/>
                    <a:gd name="T6" fmla="*/ 2147483647 w 44"/>
                    <a:gd name="T7" fmla="*/ 0 h 26"/>
                    <a:gd name="T8" fmla="*/ 0 w 44"/>
                    <a:gd name="T9" fmla="*/ 2147483647 h 26"/>
                    <a:gd name="T10" fmla="*/ 2147483647 w 44"/>
                    <a:gd name="T11" fmla="*/ 2147483647 h 26"/>
                    <a:gd name="T12" fmla="*/ 2147483647 w 44"/>
                    <a:gd name="T13" fmla="*/ 2147483647 h 26"/>
                    <a:gd name="T14" fmla="*/ 2147483647 w 44"/>
                    <a:gd name="T15" fmla="*/ 2147483647 h 26"/>
                    <a:gd name="T16" fmla="*/ 2147483647 w 44"/>
                    <a:gd name="T17" fmla="*/ 0 h 26"/>
                    <a:gd name="T18" fmla="*/ 2147483647 w 44"/>
                    <a:gd name="T19" fmla="*/ 0 h 2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4"/>
                    <a:gd name="T31" fmla="*/ 0 h 26"/>
                    <a:gd name="T32" fmla="*/ 44 w 44"/>
                    <a:gd name="T33" fmla="*/ 26 h 2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4" h="26">
                      <a:moveTo>
                        <a:pt x="35" y="0"/>
                      </a:moveTo>
                      <a:lnTo>
                        <a:pt x="26" y="0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26" y="26"/>
                      </a:lnTo>
                      <a:lnTo>
                        <a:pt x="26" y="8"/>
                      </a:lnTo>
                      <a:lnTo>
                        <a:pt x="44" y="8"/>
                      </a:lnTo>
                      <a:lnTo>
                        <a:pt x="44" y="0"/>
                      </a:lnTo>
                      <a:lnTo>
                        <a:pt x="35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0" name="Freeform 345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1" name="Freeform 346"/>
                <p:cNvSpPr>
                  <a:spLocks/>
                </p:cNvSpPr>
                <p:nvPr/>
              </p:nvSpPr>
              <p:spPr bwMode="auto">
                <a:xfrm>
                  <a:off x="6547452" y="2127878"/>
                  <a:ext cx="37495" cy="47118"/>
                </a:xfrm>
                <a:custGeom>
                  <a:avLst/>
                  <a:gdLst>
                    <a:gd name="T0" fmla="*/ 2147483647 w 35"/>
                    <a:gd name="T1" fmla="*/ 2147483647 h 44"/>
                    <a:gd name="T2" fmla="*/ 2147483647 w 35"/>
                    <a:gd name="T3" fmla="*/ 0 h 44"/>
                    <a:gd name="T4" fmla="*/ 0 w 35"/>
                    <a:gd name="T5" fmla="*/ 0 h 44"/>
                    <a:gd name="T6" fmla="*/ 0 w 35"/>
                    <a:gd name="T7" fmla="*/ 0 h 44"/>
                    <a:gd name="T8" fmla="*/ 0 w 35"/>
                    <a:gd name="T9" fmla="*/ 2147483647 h 44"/>
                    <a:gd name="T10" fmla="*/ 2147483647 w 35"/>
                    <a:gd name="T11" fmla="*/ 2147483647 h 44"/>
                    <a:gd name="T12" fmla="*/ 2147483647 w 35"/>
                    <a:gd name="T13" fmla="*/ 2147483647 h 44"/>
                    <a:gd name="T14" fmla="*/ 2147483647 w 35"/>
                    <a:gd name="T15" fmla="*/ 2147483647 h 44"/>
                    <a:gd name="T16" fmla="*/ 2147483647 w 35"/>
                    <a:gd name="T17" fmla="*/ 2147483647 h 44"/>
                    <a:gd name="T18" fmla="*/ 2147483647 w 35"/>
                    <a:gd name="T19" fmla="*/ 2147483647 h 4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5"/>
                    <a:gd name="T31" fmla="*/ 0 h 44"/>
                    <a:gd name="T32" fmla="*/ 35 w 35"/>
                    <a:gd name="T33" fmla="*/ 44 h 4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5" h="44">
                      <a:moveTo>
                        <a:pt x="26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7" y="18"/>
                      </a:lnTo>
                      <a:lnTo>
                        <a:pt x="9" y="27"/>
                      </a:lnTo>
                      <a:lnTo>
                        <a:pt x="17" y="44"/>
                      </a:lnTo>
                      <a:lnTo>
                        <a:pt x="35" y="44"/>
                      </a:lnTo>
                      <a:lnTo>
                        <a:pt x="26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2" name="Freeform 347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3" name="Freeform 348"/>
                <p:cNvSpPr>
                  <a:spLocks/>
                </p:cNvSpPr>
                <p:nvPr/>
              </p:nvSpPr>
              <p:spPr bwMode="auto">
                <a:xfrm>
                  <a:off x="5622932" y="2669736"/>
                  <a:ext cx="9642" cy="9638"/>
                </a:xfrm>
                <a:custGeom>
                  <a:avLst/>
                  <a:gdLst>
                    <a:gd name="T0" fmla="*/ 2147483647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2147483647 h 9"/>
                    <a:gd name="T6" fmla="*/ 2147483647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9" y="0"/>
                      </a:moveTo>
                      <a:lnTo>
                        <a:pt x="0" y="9"/>
                      </a:lnTo>
                      <a:lnTo>
                        <a:pt x="9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4" name="Rectangle 349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5" name="Rectangle 350"/>
                <p:cNvSpPr>
                  <a:spLocks noChangeArrowheads="1"/>
                </p:cNvSpPr>
                <p:nvPr/>
              </p:nvSpPr>
              <p:spPr bwMode="auto">
                <a:xfrm>
                  <a:off x="5622932" y="2660099"/>
                  <a:ext cx="9642" cy="1071"/>
                </a:xfrm>
                <a:prstGeom prst="rect">
                  <a:avLst/>
                </a:pr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6" name="Freeform 351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7" name="Freeform 352"/>
                <p:cNvSpPr>
                  <a:spLocks/>
                </p:cNvSpPr>
                <p:nvPr/>
              </p:nvSpPr>
              <p:spPr bwMode="auto">
                <a:xfrm>
                  <a:off x="5641144" y="2697579"/>
                  <a:ext cx="9642" cy="9638"/>
                </a:xfrm>
                <a:custGeom>
                  <a:avLst/>
                  <a:gdLst>
                    <a:gd name="T0" fmla="*/ 0 w 9"/>
                    <a:gd name="T1" fmla="*/ 0 h 9"/>
                    <a:gd name="T2" fmla="*/ 0 w 9"/>
                    <a:gd name="T3" fmla="*/ 2147483647 h 9"/>
                    <a:gd name="T4" fmla="*/ 2147483647 w 9"/>
                    <a:gd name="T5" fmla="*/ 0 h 9"/>
                    <a:gd name="T6" fmla="*/ 0 w 9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9"/>
                    <a:gd name="T14" fmla="*/ 9 w 9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8" name="Freeform 353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49" name="Freeform 354"/>
                <p:cNvSpPr>
                  <a:spLocks/>
                </p:cNvSpPr>
                <p:nvPr/>
              </p:nvSpPr>
              <p:spPr bwMode="auto">
                <a:xfrm>
                  <a:off x="5632573" y="2687941"/>
                  <a:ext cx="0" cy="9638"/>
                </a:xfrm>
                <a:custGeom>
                  <a:avLst/>
                  <a:gdLst>
                    <a:gd name="T0" fmla="*/ 0 h 9"/>
                    <a:gd name="T1" fmla="*/ 2147483647 h 9"/>
                    <a:gd name="T2" fmla="*/ 0 h 9"/>
                    <a:gd name="T3" fmla="*/ 0 h 9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9"/>
                    <a:gd name="T9" fmla="*/ 9 h 9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0" name="Freeform 355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1" name="Freeform 356"/>
                <p:cNvSpPr>
                  <a:spLocks/>
                </p:cNvSpPr>
                <p:nvPr/>
              </p:nvSpPr>
              <p:spPr bwMode="auto">
                <a:xfrm>
                  <a:off x="5632573" y="2716854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2" name="Freeform 357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3" name="Freeform 358"/>
                <p:cNvSpPr>
                  <a:spLocks/>
                </p:cNvSpPr>
                <p:nvPr/>
              </p:nvSpPr>
              <p:spPr bwMode="auto">
                <a:xfrm>
                  <a:off x="5632573" y="2772539"/>
                  <a:ext cx="18212" cy="0"/>
                </a:xfrm>
                <a:custGeom>
                  <a:avLst/>
                  <a:gdLst>
                    <a:gd name="T0" fmla="*/ 0 w 17"/>
                    <a:gd name="T1" fmla="*/ 0 w 17"/>
                    <a:gd name="T2" fmla="*/ 2147483647 w 17"/>
                    <a:gd name="T3" fmla="*/ 0 w 17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17"/>
                    <a:gd name="T9" fmla="*/ 17 w 17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4" name="Freeform 359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5" name="Freeform 360"/>
                <p:cNvSpPr>
                  <a:spLocks/>
                </p:cNvSpPr>
                <p:nvPr/>
              </p:nvSpPr>
              <p:spPr bwMode="auto">
                <a:xfrm>
                  <a:off x="5632573" y="2725421"/>
                  <a:ext cx="18212" cy="9638"/>
                </a:xfrm>
                <a:custGeom>
                  <a:avLst/>
                  <a:gdLst>
                    <a:gd name="T0" fmla="*/ 0 w 17"/>
                    <a:gd name="T1" fmla="*/ 2147483647 h 9"/>
                    <a:gd name="T2" fmla="*/ 2147483647 w 17"/>
                    <a:gd name="T3" fmla="*/ 2147483647 h 9"/>
                    <a:gd name="T4" fmla="*/ 2147483647 w 17"/>
                    <a:gd name="T5" fmla="*/ 0 h 9"/>
                    <a:gd name="T6" fmla="*/ 0 w 17"/>
                    <a:gd name="T7" fmla="*/ 2147483647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6" name="Freeform 361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7" name="Freeform 362"/>
                <p:cNvSpPr>
                  <a:spLocks/>
                </p:cNvSpPr>
                <p:nvPr/>
              </p:nvSpPr>
              <p:spPr bwMode="auto">
                <a:xfrm>
                  <a:off x="5632573" y="2782177"/>
                  <a:ext cx="8570" cy="8567"/>
                </a:xfrm>
                <a:custGeom>
                  <a:avLst/>
                  <a:gdLst>
                    <a:gd name="T0" fmla="*/ 0 w 8"/>
                    <a:gd name="T1" fmla="*/ 2147483647 h 8"/>
                    <a:gd name="T2" fmla="*/ 2147483647 w 8"/>
                    <a:gd name="T3" fmla="*/ 2147483647 h 8"/>
                    <a:gd name="T4" fmla="*/ 2147483647 w 8"/>
                    <a:gd name="T5" fmla="*/ 0 h 8"/>
                    <a:gd name="T6" fmla="*/ 0 w 8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8" name="Freeform 363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59" name="Freeform 364"/>
                <p:cNvSpPr>
                  <a:spLocks/>
                </p:cNvSpPr>
                <p:nvPr/>
              </p:nvSpPr>
              <p:spPr bwMode="auto">
                <a:xfrm>
                  <a:off x="5632573" y="2800382"/>
                  <a:ext cx="8570" cy="0"/>
                </a:xfrm>
                <a:custGeom>
                  <a:avLst/>
                  <a:gdLst>
                    <a:gd name="T0" fmla="*/ 0 w 8"/>
                    <a:gd name="T1" fmla="*/ 0 w 8"/>
                    <a:gd name="T2" fmla="*/ 2147483647 w 8"/>
                    <a:gd name="T3" fmla="*/ 0 w 8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w 8"/>
                    <a:gd name="T9" fmla="*/ 8 w 8"/>
                  </a:gdLst>
                  <a:ahLst/>
                  <a:cxnLst>
                    <a:cxn ang="T4">
                      <a:pos x="T0" y="0"/>
                    </a:cxn>
                    <a:cxn ang="T5">
                      <a:pos x="T1" y="0"/>
                    </a:cxn>
                    <a:cxn ang="T6">
                      <a:pos x="T2" y="0"/>
                    </a:cxn>
                    <a:cxn ang="T7">
                      <a:pos x="T3" y="0"/>
                    </a:cxn>
                  </a:cxnLst>
                  <a:rect l="T8" t="0" r="T9" b="0"/>
                  <a:pathLst>
                    <a:path w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0" name="Freeform 365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1" name="Freeform 366"/>
                <p:cNvSpPr>
                  <a:spLocks/>
                </p:cNvSpPr>
                <p:nvPr/>
              </p:nvSpPr>
              <p:spPr bwMode="auto">
                <a:xfrm>
                  <a:off x="5753629" y="2594776"/>
                  <a:ext cx="46066" cy="74961"/>
                </a:xfrm>
                <a:custGeom>
                  <a:avLst/>
                  <a:gdLst>
                    <a:gd name="T0" fmla="*/ 2147483647 w 43"/>
                    <a:gd name="T1" fmla="*/ 0 h 70"/>
                    <a:gd name="T2" fmla="*/ 0 w 43"/>
                    <a:gd name="T3" fmla="*/ 2147483647 h 70"/>
                    <a:gd name="T4" fmla="*/ 2147483647 w 43"/>
                    <a:gd name="T5" fmla="*/ 2147483647 h 70"/>
                    <a:gd name="T6" fmla="*/ 2147483647 w 43"/>
                    <a:gd name="T7" fmla="*/ 2147483647 h 70"/>
                    <a:gd name="T8" fmla="*/ 2147483647 w 43"/>
                    <a:gd name="T9" fmla="*/ 2147483647 h 70"/>
                    <a:gd name="T10" fmla="*/ 2147483647 w 43"/>
                    <a:gd name="T11" fmla="*/ 2147483647 h 70"/>
                    <a:gd name="T12" fmla="*/ 2147483647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9" y="70"/>
                      </a:lnTo>
                      <a:lnTo>
                        <a:pt x="26" y="70"/>
                      </a:lnTo>
                      <a:lnTo>
                        <a:pt x="43" y="61"/>
                      </a:lnTo>
                      <a:lnTo>
                        <a:pt x="35" y="1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2" name="Freeform 367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3" name="Freeform 368"/>
                <p:cNvSpPr>
                  <a:spLocks/>
                </p:cNvSpPr>
                <p:nvPr/>
              </p:nvSpPr>
              <p:spPr bwMode="auto">
                <a:xfrm>
                  <a:off x="5725776" y="2194272"/>
                  <a:ext cx="139267" cy="83527"/>
                </a:xfrm>
                <a:custGeom>
                  <a:avLst/>
                  <a:gdLst>
                    <a:gd name="T0" fmla="*/ 2147483647 w 130"/>
                    <a:gd name="T1" fmla="*/ 2147483647 h 78"/>
                    <a:gd name="T2" fmla="*/ 2147483647 w 130"/>
                    <a:gd name="T3" fmla="*/ 2147483647 h 78"/>
                    <a:gd name="T4" fmla="*/ 2147483647 w 130"/>
                    <a:gd name="T5" fmla="*/ 2147483647 h 78"/>
                    <a:gd name="T6" fmla="*/ 2147483647 w 130"/>
                    <a:gd name="T7" fmla="*/ 0 h 78"/>
                    <a:gd name="T8" fmla="*/ 0 w 130"/>
                    <a:gd name="T9" fmla="*/ 0 h 78"/>
                    <a:gd name="T10" fmla="*/ 0 w 130"/>
                    <a:gd name="T11" fmla="*/ 2147483647 h 78"/>
                    <a:gd name="T12" fmla="*/ 2147483647 w 130"/>
                    <a:gd name="T13" fmla="*/ 2147483647 h 78"/>
                    <a:gd name="T14" fmla="*/ 2147483647 w 130"/>
                    <a:gd name="T15" fmla="*/ 2147483647 h 78"/>
                    <a:gd name="T16" fmla="*/ 2147483647 w 130"/>
                    <a:gd name="T17" fmla="*/ 2147483647 h 78"/>
                    <a:gd name="T18" fmla="*/ 2147483647 w 130"/>
                    <a:gd name="T19" fmla="*/ 2147483647 h 78"/>
                    <a:gd name="T20" fmla="*/ 2147483647 w 130"/>
                    <a:gd name="T21" fmla="*/ 2147483647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30"/>
                    <a:gd name="T34" fmla="*/ 0 h 78"/>
                    <a:gd name="T35" fmla="*/ 130 w 130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30" h="78">
                      <a:moveTo>
                        <a:pt x="130" y="78"/>
                      </a:moveTo>
                      <a:lnTo>
                        <a:pt x="130" y="52"/>
                      </a:lnTo>
                      <a:lnTo>
                        <a:pt x="96" y="43"/>
                      </a:ln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34"/>
                      </a:lnTo>
                      <a:lnTo>
                        <a:pt x="43" y="52"/>
                      </a:lnTo>
                      <a:lnTo>
                        <a:pt x="43" y="61"/>
                      </a:lnTo>
                      <a:lnTo>
                        <a:pt x="69" y="52"/>
                      </a:lnTo>
                      <a:lnTo>
                        <a:pt x="87" y="69"/>
                      </a:lnTo>
                      <a:lnTo>
                        <a:pt x="130" y="7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4" name="Freeform 369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5" name="Freeform 370"/>
                <p:cNvSpPr>
                  <a:spLocks/>
                </p:cNvSpPr>
                <p:nvPr/>
              </p:nvSpPr>
              <p:spPr bwMode="auto">
                <a:xfrm>
                  <a:off x="5874684" y="2277800"/>
                  <a:ext cx="93202" cy="112441"/>
                </a:xfrm>
                <a:custGeom>
                  <a:avLst/>
                  <a:gdLst>
                    <a:gd name="T0" fmla="*/ 2147483647 w 87"/>
                    <a:gd name="T1" fmla="*/ 2147483647 h 105"/>
                    <a:gd name="T2" fmla="*/ 2147483647 w 87"/>
                    <a:gd name="T3" fmla="*/ 2147483647 h 105"/>
                    <a:gd name="T4" fmla="*/ 2147483647 w 87"/>
                    <a:gd name="T5" fmla="*/ 2147483647 h 105"/>
                    <a:gd name="T6" fmla="*/ 2147483647 w 87"/>
                    <a:gd name="T7" fmla="*/ 2147483647 h 105"/>
                    <a:gd name="T8" fmla="*/ 2147483647 w 87"/>
                    <a:gd name="T9" fmla="*/ 2147483647 h 105"/>
                    <a:gd name="T10" fmla="*/ 2147483647 w 87"/>
                    <a:gd name="T11" fmla="*/ 2147483647 h 105"/>
                    <a:gd name="T12" fmla="*/ 2147483647 w 87"/>
                    <a:gd name="T13" fmla="*/ 2147483647 h 105"/>
                    <a:gd name="T14" fmla="*/ 2147483647 w 87"/>
                    <a:gd name="T15" fmla="*/ 2147483647 h 105"/>
                    <a:gd name="T16" fmla="*/ 2147483647 w 87"/>
                    <a:gd name="T17" fmla="*/ 2147483647 h 105"/>
                    <a:gd name="T18" fmla="*/ 2147483647 w 87"/>
                    <a:gd name="T19" fmla="*/ 2147483647 h 105"/>
                    <a:gd name="T20" fmla="*/ 2147483647 w 87"/>
                    <a:gd name="T21" fmla="*/ 0 h 105"/>
                    <a:gd name="T22" fmla="*/ 2147483647 w 87"/>
                    <a:gd name="T23" fmla="*/ 0 h 105"/>
                    <a:gd name="T24" fmla="*/ 0 w 87"/>
                    <a:gd name="T25" fmla="*/ 2147483647 h 105"/>
                    <a:gd name="T26" fmla="*/ 2147483647 w 87"/>
                    <a:gd name="T27" fmla="*/ 2147483647 h 105"/>
                    <a:gd name="T28" fmla="*/ 0 w 87"/>
                    <a:gd name="T29" fmla="*/ 2147483647 h 105"/>
                    <a:gd name="T30" fmla="*/ 2147483647 w 87"/>
                    <a:gd name="T31" fmla="*/ 2147483647 h 105"/>
                    <a:gd name="T32" fmla="*/ 2147483647 w 87"/>
                    <a:gd name="T33" fmla="*/ 2147483647 h 105"/>
                    <a:gd name="T34" fmla="*/ 2147483647 w 87"/>
                    <a:gd name="T35" fmla="*/ 2147483647 h 10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7"/>
                    <a:gd name="T55" fmla="*/ 0 h 105"/>
                    <a:gd name="T56" fmla="*/ 87 w 87"/>
                    <a:gd name="T57" fmla="*/ 105 h 10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7" h="105">
                      <a:moveTo>
                        <a:pt x="44" y="70"/>
                      </a:moveTo>
                      <a:lnTo>
                        <a:pt x="44" y="61"/>
                      </a:lnTo>
                      <a:lnTo>
                        <a:pt x="61" y="70"/>
                      </a:lnTo>
                      <a:lnTo>
                        <a:pt x="79" y="105"/>
                      </a:lnTo>
                      <a:lnTo>
                        <a:pt x="87" y="78"/>
                      </a:lnTo>
                      <a:lnTo>
                        <a:pt x="79" y="52"/>
                      </a:lnTo>
                      <a:lnTo>
                        <a:pt x="70" y="52"/>
                      </a:lnTo>
                      <a:lnTo>
                        <a:pt x="61" y="52"/>
                      </a:lnTo>
                      <a:lnTo>
                        <a:pt x="70" y="26"/>
                      </a:lnTo>
                      <a:lnTo>
                        <a:pt x="35" y="26"/>
                      </a:lnTo>
                      <a:lnTo>
                        <a:pt x="18" y="0"/>
                      </a:ln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9" y="26"/>
                      </a:lnTo>
                      <a:lnTo>
                        <a:pt x="0" y="44"/>
                      </a:lnTo>
                      <a:lnTo>
                        <a:pt x="18" y="52"/>
                      </a:lnTo>
                      <a:lnTo>
                        <a:pt x="26" y="78"/>
                      </a:lnTo>
                      <a:lnTo>
                        <a:pt x="44" y="7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6" name="Freeform 371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7" name="Freeform 372"/>
                <p:cNvSpPr>
                  <a:spLocks/>
                </p:cNvSpPr>
                <p:nvPr/>
              </p:nvSpPr>
              <p:spPr bwMode="auto">
                <a:xfrm>
                  <a:off x="5884326" y="2230681"/>
                  <a:ext cx="47137" cy="47118"/>
                </a:xfrm>
                <a:custGeom>
                  <a:avLst/>
                  <a:gdLst>
                    <a:gd name="T0" fmla="*/ 0 w 44"/>
                    <a:gd name="T1" fmla="*/ 2147483647 h 44"/>
                    <a:gd name="T2" fmla="*/ 2147483647 w 44"/>
                    <a:gd name="T3" fmla="*/ 2147483647 h 44"/>
                    <a:gd name="T4" fmla="*/ 2147483647 w 44"/>
                    <a:gd name="T5" fmla="*/ 2147483647 h 44"/>
                    <a:gd name="T6" fmla="*/ 2147483647 w 44"/>
                    <a:gd name="T7" fmla="*/ 2147483647 h 44"/>
                    <a:gd name="T8" fmla="*/ 2147483647 w 44"/>
                    <a:gd name="T9" fmla="*/ 2147483647 h 44"/>
                    <a:gd name="T10" fmla="*/ 2147483647 w 44"/>
                    <a:gd name="T11" fmla="*/ 0 h 44"/>
                    <a:gd name="T12" fmla="*/ 2147483647 w 44"/>
                    <a:gd name="T13" fmla="*/ 0 h 44"/>
                    <a:gd name="T14" fmla="*/ 0 w 44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4"/>
                    <a:gd name="T25" fmla="*/ 0 h 44"/>
                    <a:gd name="T26" fmla="*/ 44 w 44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4" h="44">
                      <a:moveTo>
                        <a:pt x="0" y="27"/>
                      </a:moveTo>
                      <a:lnTo>
                        <a:pt x="17" y="27"/>
                      </a:lnTo>
                      <a:lnTo>
                        <a:pt x="26" y="44"/>
                      </a:lnTo>
                      <a:lnTo>
                        <a:pt x="35" y="35"/>
                      </a:lnTo>
                      <a:lnTo>
                        <a:pt x="44" y="18"/>
                      </a:lnTo>
                      <a:lnTo>
                        <a:pt x="17" y="0"/>
                      </a:lnTo>
                      <a:lnTo>
                        <a:pt x="9" y="0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8" name="Freeform 373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69" name="Freeform 374"/>
                <p:cNvSpPr>
                  <a:spLocks/>
                </p:cNvSpPr>
                <p:nvPr/>
              </p:nvSpPr>
              <p:spPr bwMode="auto">
                <a:xfrm>
                  <a:off x="5959316" y="2230681"/>
                  <a:ext cx="148909" cy="336252"/>
                </a:xfrm>
                <a:custGeom>
                  <a:avLst/>
                  <a:gdLst>
                    <a:gd name="T0" fmla="*/ 2147483647 w 139"/>
                    <a:gd name="T1" fmla="*/ 2147483647 h 314"/>
                    <a:gd name="T2" fmla="*/ 2147483647 w 139"/>
                    <a:gd name="T3" fmla="*/ 2147483647 h 314"/>
                    <a:gd name="T4" fmla="*/ 2147483647 w 139"/>
                    <a:gd name="T5" fmla="*/ 2147483647 h 314"/>
                    <a:gd name="T6" fmla="*/ 2147483647 w 139"/>
                    <a:gd name="T7" fmla="*/ 2147483647 h 314"/>
                    <a:gd name="T8" fmla="*/ 0 w 139"/>
                    <a:gd name="T9" fmla="*/ 2147483647 h 314"/>
                    <a:gd name="T10" fmla="*/ 2147483647 w 139"/>
                    <a:gd name="T11" fmla="*/ 2147483647 h 314"/>
                    <a:gd name="T12" fmla="*/ 2147483647 w 139"/>
                    <a:gd name="T13" fmla="*/ 2147483647 h 314"/>
                    <a:gd name="T14" fmla="*/ 2147483647 w 139"/>
                    <a:gd name="T15" fmla="*/ 2147483647 h 314"/>
                    <a:gd name="T16" fmla="*/ 2147483647 w 139"/>
                    <a:gd name="T17" fmla="*/ 2147483647 h 314"/>
                    <a:gd name="T18" fmla="*/ 2147483647 w 139"/>
                    <a:gd name="T19" fmla="*/ 2147483647 h 314"/>
                    <a:gd name="T20" fmla="*/ 2147483647 w 139"/>
                    <a:gd name="T21" fmla="*/ 2147483647 h 314"/>
                    <a:gd name="T22" fmla="*/ 2147483647 w 139"/>
                    <a:gd name="T23" fmla="*/ 2147483647 h 314"/>
                    <a:gd name="T24" fmla="*/ 2147483647 w 139"/>
                    <a:gd name="T25" fmla="*/ 2147483647 h 314"/>
                    <a:gd name="T26" fmla="*/ 2147483647 w 139"/>
                    <a:gd name="T27" fmla="*/ 2147483647 h 314"/>
                    <a:gd name="T28" fmla="*/ 2147483647 w 139"/>
                    <a:gd name="T29" fmla="*/ 2147483647 h 314"/>
                    <a:gd name="T30" fmla="*/ 2147483647 w 139"/>
                    <a:gd name="T31" fmla="*/ 2147483647 h 314"/>
                    <a:gd name="T32" fmla="*/ 2147483647 w 139"/>
                    <a:gd name="T33" fmla="*/ 2147483647 h 314"/>
                    <a:gd name="T34" fmla="*/ 2147483647 w 139"/>
                    <a:gd name="T35" fmla="*/ 2147483647 h 314"/>
                    <a:gd name="T36" fmla="*/ 2147483647 w 139"/>
                    <a:gd name="T37" fmla="*/ 2147483647 h 314"/>
                    <a:gd name="T38" fmla="*/ 2147483647 w 139"/>
                    <a:gd name="T39" fmla="*/ 2147483647 h 314"/>
                    <a:gd name="T40" fmla="*/ 2147483647 w 139"/>
                    <a:gd name="T41" fmla="*/ 2147483647 h 314"/>
                    <a:gd name="T42" fmla="*/ 2147483647 w 139"/>
                    <a:gd name="T43" fmla="*/ 2147483647 h 314"/>
                    <a:gd name="T44" fmla="*/ 2147483647 w 139"/>
                    <a:gd name="T45" fmla="*/ 2147483647 h 314"/>
                    <a:gd name="T46" fmla="*/ 2147483647 w 139"/>
                    <a:gd name="T47" fmla="*/ 2147483647 h 314"/>
                    <a:gd name="T48" fmla="*/ 2147483647 w 139"/>
                    <a:gd name="T49" fmla="*/ 2147483647 h 314"/>
                    <a:gd name="T50" fmla="*/ 2147483647 w 139"/>
                    <a:gd name="T51" fmla="*/ 2147483647 h 314"/>
                    <a:gd name="T52" fmla="*/ 2147483647 w 139"/>
                    <a:gd name="T53" fmla="*/ 2147483647 h 314"/>
                    <a:gd name="T54" fmla="*/ 2147483647 w 139"/>
                    <a:gd name="T55" fmla="*/ 2147483647 h 314"/>
                    <a:gd name="T56" fmla="*/ 2147483647 w 139"/>
                    <a:gd name="T57" fmla="*/ 2147483647 h 314"/>
                    <a:gd name="T58" fmla="*/ 2147483647 w 139"/>
                    <a:gd name="T59" fmla="*/ 2147483647 h 314"/>
                    <a:gd name="T60" fmla="*/ 2147483647 w 139"/>
                    <a:gd name="T61" fmla="*/ 0 h 314"/>
                    <a:gd name="T62" fmla="*/ 2147483647 w 139"/>
                    <a:gd name="T63" fmla="*/ 2147483647 h 31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9"/>
                    <a:gd name="T97" fmla="*/ 0 h 314"/>
                    <a:gd name="T98" fmla="*/ 139 w 139"/>
                    <a:gd name="T99" fmla="*/ 314 h 31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9" h="314">
                      <a:moveTo>
                        <a:pt x="52" y="27"/>
                      </a:moveTo>
                      <a:lnTo>
                        <a:pt x="35" y="35"/>
                      </a:lnTo>
                      <a:lnTo>
                        <a:pt x="35" y="79"/>
                      </a:lnTo>
                      <a:lnTo>
                        <a:pt x="17" y="88"/>
                      </a:lnTo>
                      <a:lnTo>
                        <a:pt x="0" y="149"/>
                      </a:lnTo>
                      <a:lnTo>
                        <a:pt x="17" y="157"/>
                      </a:lnTo>
                      <a:lnTo>
                        <a:pt x="43" y="192"/>
                      </a:lnTo>
                      <a:lnTo>
                        <a:pt x="35" y="218"/>
                      </a:lnTo>
                      <a:lnTo>
                        <a:pt x="52" y="218"/>
                      </a:lnTo>
                      <a:lnTo>
                        <a:pt x="69" y="227"/>
                      </a:lnTo>
                      <a:lnTo>
                        <a:pt x="69" y="218"/>
                      </a:lnTo>
                      <a:lnTo>
                        <a:pt x="87" y="210"/>
                      </a:lnTo>
                      <a:lnTo>
                        <a:pt x="104" y="271"/>
                      </a:lnTo>
                      <a:lnTo>
                        <a:pt x="122" y="279"/>
                      </a:lnTo>
                      <a:lnTo>
                        <a:pt x="122" y="288"/>
                      </a:lnTo>
                      <a:lnTo>
                        <a:pt x="113" y="288"/>
                      </a:lnTo>
                      <a:lnTo>
                        <a:pt x="104" y="314"/>
                      </a:lnTo>
                      <a:lnTo>
                        <a:pt x="130" y="314"/>
                      </a:lnTo>
                      <a:lnTo>
                        <a:pt x="130" y="279"/>
                      </a:lnTo>
                      <a:lnTo>
                        <a:pt x="122" y="244"/>
                      </a:lnTo>
                      <a:lnTo>
                        <a:pt x="122" y="227"/>
                      </a:lnTo>
                      <a:lnTo>
                        <a:pt x="104" y="192"/>
                      </a:lnTo>
                      <a:lnTo>
                        <a:pt x="104" y="166"/>
                      </a:lnTo>
                      <a:lnTo>
                        <a:pt x="130" y="149"/>
                      </a:lnTo>
                      <a:lnTo>
                        <a:pt x="139" y="122"/>
                      </a:lnTo>
                      <a:lnTo>
                        <a:pt x="122" y="122"/>
                      </a:lnTo>
                      <a:lnTo>
                        <a:pt x="96" y="88"/>
                      </a:lnTo>
                      <a:lnTo>
                        <a:pt x="78" y="79"/>
                      </a:lnTo>
                      <a:lnTo>
                        <a:pt x="87" y="53"/>
                      </a:lnTo>
                      <a:lnTo>
                        <a:pt x="87" y="18"/>
                      </a:lnTo>
                      <a:lnTo>
                        <a:pt x="69" y="0"/>
                      </a:lnTo>
                      <a:lnTo>
                        <a:pt x="52" y="2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0" name="Freeform 375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1" name="Freeform 376"/>
                <p:cNvSpPr>
                  <a:spLocks/>
                </p:cNvSpPr>
                <p:nvPr/>
              </p:nvSpPr>
              <p:spPr bwMode="auto">
                <a:xfrm>
                  <a:off x="6070730" y="2390241"/>
                  <a:ext cx="140339" cy="279496"/>
                </a:xfrm>
                <a:custGeom>
                  <a:avLst/>
                  <a:gdLst>
                    <a:gd name="T0" fmla="*/ 0 w 131"/>
                    <a:gd name="T1" fmla="*/ 2147483647 h 261"/>
                    <a:gd name="T2" fmla="*/ 0 w 131"/>
                    <a:gd name="T3" fmla="*/ 2147483647 h 261"/>
                    <a:gd name="T4" fmla="*/ 2147483647 w 131"/>
                    <a:gd name="T5" fmla="*/ 2147483647 h 261"/>
                    <a:gd name="T6" fmla="*/ 2147483647 w 131"/>
                    <a:gd name="T7" fmla="*/ 2147483647 h 261"/>
                    <a:gd name="T8" fmla="*/ 2147483647 w 131"/>
                    <a:gd name="T9" fmla="*/ 2147483647 h 261"/>
                    <a:gd name="T10" fmla="*/ 2147483647 w 131"/>
                    <a:gd name="T11" fmla="*/ 2147483647 h 261"/>
                    <a:gd name="T12" fmla="*/ 2147483647 w 131"/>
                    <a:gd name="T13" fmla="*/ 2147483647 h 261"/>
                    <a:gd name="T14" fmla="*/ 2147483647 w 131"/>
                    <a:gd name="T15" fmla="*/ 2147483647 h 261"/>
                    <a:gd name="T16" fmla="*/ 2147483647 w 131"/>
                    <a:gd name="T17" fmla="*/ 2147483647 h 261"/>
                    <a:gd name="T18" fmla="*/ 2147483647 w 131"/>
                    <a:gd name="T19" fmla="*/ 2147483647 h 261"/>
                    <a:gd name="T20" fmla="*/ 2147483647 w 131"/>
                    <a:gd name="T21" fmla="*/ 2147483647 h 261"/>
                    <a:gd name="T22" fmla="*/ 2147483647 w 131"/>
                    <a:gd name="T23" fmla="*/ 2147483647 h 261"/>
                    <a:gd name="T24" fmla="*/ 2147483647 w 131"/>
                    <a:gd name="T25" fmla="*/ 2147483647 h 261"/>
                    <a:gd name="T26" fmla="*/ 2147483647 w 131"/>
                    <a:gd name="T27" fmla="*/ 2147483647 h 261"/>
                    <a:gd name="T28" fmla="*/ 2147483647 w 131"/>
                    <a:gd name="T29" fmla="*/ 2147483647 h 261"/>
                    <a:gd name="T30" fmla="*/ 2147483647 w 131"/>
                    <a:gd name="T31" fmla="*/ 2147483647 h 261"/>
                    <a:gd name="T32" fmla="*/ 2147483647 w 131"/>
                    <a:gd name="T33" fmla="*/ 2147483647 h 261"/>
                    <a:gd name="T34" fmla="*/ 2147483647 w 131"/>
                    <a:gd name="T35" fmla="*/ 2147483647 h 261"/>
                    <a:gd name="T36" fmla="*/ 2147483647 w 131"/>
                    <a:gd name="T37" fmla="*/ 2147483647 h 261"/>
                    <a:gd name="T38" fmla="*/ 2147483647 w 131"/>
                    <a:gd name="T39" fmla="*/ 2147483647 h 261"/>
                    <a:gd name="T40" fmla="*/ 2147483647 w 131"/>
                    <a:gd name="T41" fmla="*/ 2147483647 h 261"/>
                    <a:gd name="T42" fmla="*/ 2147483647 w 131"/>
                    <a:gd name="T43" fmla="*/ 2147483647 h 261"/>
                    <a:gd name="T44" fmla="*/ 2147483647 w 131"/>
                    <a:gd name="T45" fmla="*/ 2147483647 h 261"/>
                    <a:gd name="T46" fmla="*/ 2147483647 w 131"/>
                    <a:gd name="T47" fmla="*/ 2147483647 h 261"/>
                    <a:gd name="T48" fmla="*/ 2147483647 w 131"/>
                    <a:gd name="T49" fmla="*/ 2147483647 h 261"/>
                    <a:gd name="T50" fmla="*/ 2147483647 w 131"/>
                    <a:gd name="T51" fmla="*/ 2147483647 h 261"/>
                    <a:gd name="T52" fmla="*/ 2147483647 w 131"/>
                    <a:gd name="T53" fmla="*/ 2147483647 h 261"/>
                    <a:gd name="T54" fmla="*/ 2147483647 w 131"/>
                    <a:gd name="T55" fmla="*/ 2147483647 h 261"/>
                    <a:gd name="T56" fmla="*/ 2147483647 w 131"/>
                    <a:gd name="T57" fmla="*/ 2147483647 h 261"/>
                    <a:gd name="T58" fmla="*/ 2147483647 w 131"/>
                    <a:gd name="T59" fmla="*/ 2147483647 h 261"/>
                    <a:gd name="T60" fmla="*/ 2147483647 w 131"/>
                    <a:gd name="T61" fmla="*/ 2147483647 h 261"/>
                    <a:gd name="T62" fmla="*/ 2147483647 w 131"/>
                    <a:gd name="T63" fmla="*/ 2147483647 h 261"/>
                    <a:gd name="T64" fmla="*/ 2147483647 w 131"/>
                    <a:gd name="T65" fmla="*/ 2147483647 h 261"/>
                    <a:gd name="T66" fmla="*/ 2147483647 w 131"/>
                    <a:gd name="T67" fmla="*/ 2147483647 h 261"/>
                    <a:gd name="T68" fmla="*/ 2147483647 w 131"/>
                    <a:gd name="T69" fmla="*/ 2147483647 h 261"/>
                    <a:gd name="T70" fmla="*/ 2147483647 w 131"/>
                    <a:gd name="T71" fmla="*/ 2147483647 h 261"/>
                    <a:gd name="T72" fmla="*/ 2147483647 w 131"/>
                    <a:gd name="T73" fmla="*/ 2147483647 h 261"/>
                    <a:gd name="T74" fmla="*/ 2147483647 w 131"/>
                    <a:gd name="T75" fmla="*/ 2147483647 h 261"/>
                    <a:gd name="T76" fmla="*/ 2147483647 w 131"/>
                    <a:gd name="T77" fmla="*/ 2147483647 h 261"/>
                    <a:gd name="T78" fmla="*/ 2147483647 w 131"/>
                    <a:gd name="T79" fmla="*/ 2147483647 h 261"/>
                    <a:gd name="T80" fmla="*/ 2147483647 w 131"/>
                    <a:gd name="T81" fmla="*/ 2147483647 h 261"/>
                    <a:gd name="T82" fmla="*/ 2147483647 w 131"/>
                    <a:gd name="T83" fmla="*/ 2147483647 h 261"/>
                    <a:gd name="T84" fmla="*/ 2147483647 w 131"/>
                    <a:gd name="T85" fmla="*/ 2147483647 h 261"/>
                    <a:gd name="T86" fmla="*/ 2147483647 w 131"/>
                    <a:gd name="T87" fmla="*/ 2147483647 h 261"/>
                    <a:gd name="T88" fmla="*/ 2147483647 w 131"/>
                    <a:gd name="T89" fmla="*/ 2147483647 h 261"/>
                    <a:gd name="T90" fmla="*/ 2147483647 w 131"/>
                    <a:gd name="T91" fmla="*/ 2147483647 h 261"/>
                    <a:gd name="T92" fmla="*/ 2147483647 w 131"/>
                    <a:gd name="T93" fmla="*/ 0 h 261"/>
                    <a:gd name="T94" fmla="*/ 0 w 131"/>
                    <a:gd name="T95" fmla="*/ 2147483647 h 26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31"/>
                    <a:gd name="T145" fmla="*/ 0 h 261"/>
                    <a:gd name="T146" fmla="*/ 131 w 131"/>
                    <a:gd name="T147" fmla="*/ 261 h 26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31" h="261">
                      <a:moveTo>
                        <a:pt x="0" y="17"/>
                      </a:moveTo>
                      <a:lnTo>
                        <a:pt x="0" y="43"/>
                      </a:lnTo>
                      <a:lnTo>
                        <a:pt x="18" y="78"/>
                      </a:lnTo>
                      <a:lnTo>
                        <a:pt x="18" y="95"/>
                      </a:lnTo>
                      <a:lnTo>
                        <a:pt x="26" y="130"/>
                      </a:lnTo>
                      <a:lnTo>
                        <a:pt x="26" y="165"/>
                      </a:lnTo>
                      <a:lnTo>
                        <a:pt x="18" y="165"/>
                      </a:lnTo>
                      <a:lnTo>
                        <a:pt x="18" y="191"/>
                      </a:lnTo>
                      <a:lnTo>
                        <a:pt x="18" y="217"/>
                      </a:lnTo>
                      <a:lnTo>
                        <a:pt x="26" y="217"/>
                      </a:lnTo>
                      <a:lnTo>
                        <a:pt x="53" y="261"/>
                      </a:lnTo>
                      <a:lnTo>
                        <a:pt x="70" y="261"/>
                      </a:lnTo>
                      <a:lnTo>
                        <a:pt x="96" y="261"/>
                      </a:lnTo>
                      <a:lnTo>
                        <a:pt x="70" y="244"/>
                      </a:lnTo>
                      <a:lnTo>
                        <a:pt x="61" y="235"/>
                      </a:lnTo>
                      <a:lnTo>
                        <a:pt x="53" y="226"/>
                      </a:lnTo>
                      <a:lnTo>
                        <a:pt x="53" y="217"/>
                      </a:lnTo>
                      <a:lnTo>
                        <a:pt x="53" y="209"/>
                      </a:lnTo>
                      <a:lnTo>
                        <a:pt x="53" y="200"/>
                      </a:lnTo>
                      <a:lnTo>
                        <a:pt x="35" y="191"/>
                      </a:lnTo>
                      <a:lnTo>
                        <a:pt x="26" y="183"/>
                      </a:lnTo>
                      <a:lnTo>
                        <a:pt x="44" y="165"/>
                      </a:lnTo>
                      <a:lnTo>
                        <a:pt x="44" y="122"/>
                      </a:lnTo>
                      <a:lnTo>
                        <a:pt x="53" y="130"/>
                      </a:lnTo>
                      <a:lnTo>
                        <a:pt x="53" y="139"/>
                      </a:lnTo>
                      <a:lnTo>
                        <a:pt x="79" y="156"/>
                      </a:lnTo>
                      <a:lnTo>
                        <a:pt x="88" y="165"/>
                      </a:lnTo>
                      <a:lnTo>
                        <a:pt x="96" y="165"/>
                      </a:lnTo>
                      <a:lnTo>
                        <a:pt x="105" y="165"/>
                      </a:lnTo>
                      <a:lnTo>
                        <a:pt x="96" y="148"/>
                      </a:lnTo>
                      <a:lnTo>
                        <a:pt x="79" y="130"/>
                      </a:lnTo>
                      <a:lnTo>
                        <a:pt x="96" y="104"/>
                      </a:lnTo>
                      <a:lnTo>
                        <a:pt x="122" y="104"/>
                      </a:lnTo>
                      <a:lnTo>
                        <a:pt x="131" y="87"/>
                      </a:lnTo>
                      <a:lnTo>
                        <a:pt x="105" y="43"/>
                      </a:lnTo>
                      <a:lnTo>
                        <a:pt x="88" y="34"/>
                      </a:lnTo>
                      <a:lnTo>
                        <a:pt x="79" y="52"/>
                      </a:lnTo>
                      <a:lnTo>
                        <a:pt x="70" y="34"/>
                      </a:lnTo>
                      <a:lnTo>
                        <a:pt x="61" y="52"/>
                      </a:lnTo>
                      <a:lnTo>
                        <a:pt x="53" y="52"/>
                      </a:lnTo>
                      <a:lnTo>
                        <a:pt x="44" y="17"/>
                      </a:lnTo>
                      <a:lnTo>
                        <a:pt x="2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2" name="Freeform 377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3" name="Freeform 378"/>
                <p:cNvSpPr>
                  <a:spLocks/>
                </p:cNvSpPr>
                <p:nvPr/>
              </p:nvSpPr>
              <p:spPr bwMode="auto">
                <a:xfrm>
                  <a:off x="6098584" y="2352760"/>
                  <a:ext cx="140339" cy="168126"/>
                </a:xfrm>
                <a:custGeom>
                  <a:avLst/>
                  <a:gdLst>
                    <a:gd name="T0" fmla="*/ 2147483647 w 131"/>
                    <a:gd name="T1" fmla="*/ 0 h 157"/>
                    <a:gd name="T2" fmla="*/ 2147483647 w 131"/>
                    <a:gd name="T3" fmla="*/ 2147483647 h 157"/>
                    <a:gd name="T4" fmla="*/ 0 w 131"/>
                    <a:gd name="T5" fmla="*/ 2147483647 h 157"/>
                    <a:gd name="T6" fmla="*/ 2147483647 w 131"/>
                    <a:gd name="T7" fmla="*/ 2147483647 h 157"/>
                    <a:gd name="T8" fmla="*/ 2147483647 w 131"/>
                    <a:gd name="T9" fmla="*/ 2147483647 h 157"/>
                    <a:gd name="T10" fmla="*/ 2147483647 w 131"/>
                    <a:gd name="T11" fmla="*/ 2147483647 h 157"/>
                    <a:gd name="T12" fmla="*/ 2147483647 w 131"/>
                    <a:gd name="T13" fmla="*/ 2147483647 h 157"/>
                    <a:gd name="T14" fmla="*/ 2147483647 w 131"/>
                    <a:gd name="T15" fmla="*/ 2147483647 h 157"/>
                    <a:gd name="T16" fmla="*/ 2147483647 w 131"/>
                    <a:gd name="T17" fmla="*/ 2147483647 h 157"/>
                    <a:gd name="T18" fmla="*/ 2147483647 w 131"/>
                    <a:gd name="T19" fmla="*/ 2147483647 h 157"/>
                    <a:gd name="T20" fmla="*/ 2147483647 w 131"/>
                    <a:gd name="T21" fmla="*/ 2147483647 h 157"/>
                    <a:gd name="T22" fmla="*/ 2147483647 w 131"/>
                    <a:gd name="T23" fmla="*/ 2147483647 h 157"/>
                    <a:gd name="T24" fmla="*/ 2147483647 w 131"/>
                    <a:gd name="T25" fmla="*/ 2147483647 h 157"/>
                    <a:gd name="T26" fmla="*/ 2147483647 w 131"/>
                    <a:gd name="T27" fmla="*/ 2147483647 h 157"/>
                    <a:gd name="T28" fmla="*/ 2147483647 w 131"/>
                    <a:gd name="T29" fmla="*/ 2147483647 h 157"/>
                    <a:gd name="T30" fmla="*/ 2147483647 w 131"/>
                    <a:gd name="T31" fmla="*/ 2147483647 h 157"/>
                    <a:gd name="T32" fmla="*/ 2147483647 w 131"/>
                    <a:gd name="T33" fmla="*/ 2147483647 h 157"/>
                    <a:gd name="T34" fmla="*/ 2147483647 w 131"/>
                    <a:gd name="T35" fmla="*/ 0 h 15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1"/>
                    <a:gd name="T55" fmla="*/ 0 h 157"/>
                    <a:gd name="T56" fmla="*/ 131 w 131"/>
                    <a:gd name="T57" fmla="*/ 157 h 15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1" h="157">
                      <a:moveTo>
                        <a:pt x="27" y="0"/>
                      </a:moveTo>
                      <a:lnTo>
                        <a:pt x="9" y="8"/>
                      </a:lnTo>
                      <a:lnTo>
                        <a:pt x="0" y="35"/>
                      </a:lnTo>
                      <a:lnTo>
                        <a:pt x="18" y="52"/>
                      </a:lnTo>
                      <a:lnTo>
                        <a:pt x="27" y="87"/>
                      </a:lnTo>
                      <a:lnTo>
                        <a:pt x="35" y="87"/>
                      </a:lnTo>
                      <a:lnTo>
                        <a:pt x="44" y="69"/>
                      </a:lnTo>
                      <a:lnTo>
                        <a:pt x="53" y="87"/>
                      </a:lnTo>
                      <a:lnTo>
                        <a:pt x="62" y="69"/>
                      </a:lnTo>
                      <a:lnTo>
                        <a:pt x="79" y="78"/>
                      </a:lnTo>
                      <a:lnTo>
                        <a:pt x="105" y="122"/>
                      </a:lnTo>
                      <a:lnTo>
                        <a:pt x="96" y="139"/>
                      </a:lnTo>
                      <a:lnTo>
                        <a:pt x="114" y="157"/>
                      </a:lnTo>
                      <a:lnTo>
                        <a:pt x="123" y="139"/>
                      </a:lnTo>
                      <a:lnTo>
                        <a:pt x="131" y="139"/>
                      </a:lnTo>
                      <a:lnTo>
                        <a:pt x="131" y="113"/>
                      </a:lnTo>
                      <a:lnTo>
                        <a:pt x="79" y="6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4" name="Freeform 379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5" name="Freeform 380"/>
                <p:cNvSpPr>
                  <a:spLocks/>
                </p:cNvSpPr>
                <p:nvPr/>
              </p:nvSpPr>
              <p:spPr bwMode="auto">
                <a:xfrm>
                  <a:off x="6127508" y="2333485"/>
                  <a:ext cx="158550" cy="280567"/>
                </a:xfrm>
                <a:custGeom>
                  <a:avLst/>
                  <a:gdLst>
                    <a:gd name="T0" fmla="*/ 2147483647 w 148"/>
                    <a:gd name="T1" fmla="*/ 2147483647 h 262"/>
                    <a:gd name="T2" fmla="*/ 2147483647 w 148"/>
                    <a:gd name="T3" fmla="*/ 0 h 262"/>
                    <a:gd name="T4" fmla="*/ 0 w 148"/>
                    <a:gd name="T5" fmla="*/ 2147483647 h 262"/>
                    <a:gd name="T6" fmla="*/ 2147483647 w 148"/>
                    <a:gd name="T7" fmla="*/ 2147483647 h 262"/>
                    <a:gd name="T8" fmla="*/ 2147483647 w 148"/>
                    <a:gd name="T9" fmla="*/ 2147483647 h 262"/>
                    <a:gd name="T10" fmla="*/ 2147483647 w 148"/>
                    <a:gd name="T11" fmla="*/ 2147483647 h 262"/>
                    <a:gd name="T12" fmla="*/ 2147483647 w 148"/>
                    <a:gd name="T13" fmla="*/ 2147483647 h 262"/>
                    <a:gd name="T14" fmla="*/ 2147483647 w 148"/>
                    <a:gd name="T15" fmla="*/ 2147483647 h 262"/>
                    <a:gd name="T16" fmla="*/ 2147483647 w 148"/>
                    <a:gd name="T17" fmla="*/ 2147483647 h 262"/>
                    <a:gd name="T18" fmla="*/ 2147483647 w 148"/>
                    <a:gd name="T19" fmla="*/ 2147483647 h 262"/>
                    <a:gd name="T20" fmla="*/ 2147483647 w 148"/>
                    <a:gd name="T21" fmla="*/ 2147483647 h 262"/>
                    <a:gd name="T22" fmla="*/ 2147483647 w 148"/>
                    <a:gd name="T23" fmla="*/ 2147483647 h 262"/>
                    <a:gd name="T24" fmla="*/ 2147483647 w 148"/>
                    <a:gd name="T25" fmla="*/ 2147483647 h 262"/>
                    <a:gd name="T26" fmla="*/ 2147483647 w 148"/>
                    <a:gd name="T27" fmla="*/ 2147483647 h 262"/>
                    <a:gd name="T28" fmla="*/ 2147483647 w 148"/>
                    <a:gd name="T29" fmla="*/ 2147483647 h 262"/>
                    <a:gd name="T30" fmla="*/ 2147483647 w 148"/>
                    <a:gd name="T31" fmla="*/ 2147483647 h 262"/>
                    <a:gd name="T32" fmla="*/ 2147483647 w 148"/>
                    <a:gd name="T33" fmla="*/ 2147483647 h 262"/>
                    <a:gd name="T34" fmla="*/ 2147483647 w 148"/>
                    <a:gd name="T35" fmla="*/ 2147483647 h 262"/>
                    <a:gd name="T36" fmla="*/ 2147483647 w 148"/>
                    <a:gd name="T37" fmla="*/ 2147483647 h 262"/>
                    <a:gd name="T38" fmla="*/ 2147483647 w 148"/>
                    <a:gd name="T39" fmla="*/ 2147483647 h 26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8"/>
                    <a:gd name="T61" fmla="*/ 0 h 262"/>
                    <a:gd name="T62" fmla="*/ 148 w 148"/>
                    <a:gd name="T63" fmla="*/ 262 h 26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8" h="262">
                      <a:moveTo>
                        <a:pt x="104" y="26"/>
                      </a:moveTo>
                      <a:lnTo>
                        <a:pt x="43" y="0"/>
                      </a:lnTo>
                      <a:lnTo>
                        <a:pt x="0" y="18"/>
                      </a:lnTo>
                      <a:lnTo>
                        <a:pt x="52" y="79"/>
                      </a:lnTo>
                      <a:lnTo>
                        <a:pt x="104" y="131"/>
                      </a:lnTo>
                      <a:lnTo>
                        <a:pt x="113" y="183"/>
                      </a:lnTo>
                      <a:lnTo>
                        <a:pt x="96" y="227"/>
                      </a:lnTo>
                      <a:lnTo>
                        <a:pt x="69" y="236"/>
                      </a:lnTo>
                      <a:lnTo>
                        <a:pt x="69" y="262"/>
                      </a:lnTo>
                      <a:lnTo>
                        <a:pt x="87" y="253"/>
                      </a:lnTo>
                      <a:lnTo>
                        <a:pt x="96" y="236"/>
                      </a:lnTo>
                      <a:lnTo>
                        <a:pt x="113" y="236"/>
                      </a:lnTo>
                      <a:lnTo>
                        <a:pt x="130" y="218"/>
                      </a:lnTo>
                      <a:lnTo>
                        <a:pt x="148" y="209"/>
                      </a:lnTo>
                      <a:lnTo>
                        <a:pt x="148" y="192"/>
                      </a:lnTo>
                      <a:lnTo>
                        <a:pt x="130" y="148"/>
                      </a:lnTo>
                      <a:lnTo>
                        <a:pt x="96" y="114"/>
                      </a:lnTo>
                      <a:lnTo>
                        <a:pt x="69" y="61"/>
                      </a:lnTo>
                      <a:lnTo>
                        <a:pt x="78" y="44"/>
                      </a:ln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6" name="Freeform 381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7" name="Freeform 382"/>
                <p:cNvSpPr>
                  <a:spLocks/>
                </p:cNvSpPr>
                <p:nvPr/>
              </p:nvSpPr>
              <p:spPr bwMode="auto">
                <a:xfrm>
                  <a:off x="6155361" y="2501611"/>
                  <a:ext cx="93202" cy="84599"/>
                </a:xfrm>
                <a:custGeom>
                  <a:avLst/>
                  <a:gdLst>
                    <a:gd name="T0" fmla="*/ 2147483647 w 87"/>
                    <a:gd name="T1" fmla="*/ 0 h 79"/>
                    <a:gd name="T2" fmla="*/ 2147483647 w 87"/>
                    <a:gd name="T3" fmla="*/ 0 h 79"/>
                    <a:gd name="T4" fmla="*/ 2147483647 w 87"/>
                    <a:gd name="T5" fmla="*/ 2147483647 h 79"/>
                    <a:gd name="T6" fmla="*/ 2147483647 w 87"/>
                    <a:gd name="T7" fmla="*/ 0 h 79"/>
                    <a:gd name="T8" fmla="*/ 2147483647 w 87"/>
                    <a:gd name="T9" fmla="*/ 0 h 79"/>
                    <a:gd name="T10" fmla="*/ 0 w 87"/>
                    <a:gd name="T11" fmla="*/ 2147483647 h 79"/>
                    <a:gd name="T12" fmla="*/ 2147483647 w 87"/>
                    <a:gd name="T13" fmla="*/ 2147483647 h 79"/>
                    <a:gd name="T14" fmla="*/ 2147483647 w 87"/>
                    <a:gd name="T15" fmla="*/ 2147483647 h 79"/>
                    <a:gd name="T16" fmla="*/ 2147483647 w 87"/>
                    <a:gd name="T17" fmla="*/ 2147483647 h 79"/>
                    <a:gd name="T18" fmla="*/ 2147483647 w 87"/>
                    <a:gd name="T19" fmla="*/ 2147483647 h 79"/>
                    <a:gd name="T20" fmla="*/ 2147483647 w 87"/>
                    <a:gd name="T21" fmla="*/ 2147483647 h 79"/>
                    <a:gd name="T22" fmla="*/ 2147483647 w 87"/>
                    <a:gd name="T23" fmla="*/ 2147483647 h 79"/>
                    <a:gd name="T24" fmla="*/ 2147483647 w 87"/>
                    <a:gd name="T25" fmla="*/ 0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7"/>
                    <a:gd name="T40" fmla="*/ 0 h 79"/>
                    <a:gd name="T41" fmla="*/ 87 w 87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7" h="79">
                      <a:moveTo>
                        <a:pt x="78" y="0"/>
                      </a:moveTo>
                      <a:lnTo>
                        <a:pt x="70" y="0"/>
                      </a:lnTo>
                      <a:lnTo>
                        <a:pt x="61" y="18"/>
                      </a:lnTo>
                      <a:lnTo>
                        <a:pt x="43" y="0"/>
                      </a:lnTo>
                      <a:lnTo>
                        <a:pt x="17" y="0"/>
                      </a:lnTo>
                      <a:lnTo>
                        <a:pt x="0" y="26"/>
                      </a:lnTo>
                      <a:lnTo>
                        <a:pt x="17" y="44"/>
                      </a:lnTo>
                      <a:lnTo>
                        <a:pt x="26" y="61"/>
                      </a:lnTo>
                      <a:lnTo>
                        <a:pt x="17" y="61"/>
                      </a:lnTo>
                      <a:lnTo>
                        <a:pt x="43" y="79"/>
                      </a:lnTo>
                      <a:lnTo>
                        <a:pt x="70" y="70"/>
                      </a:lnTo>
                      <a:lnTo>
                        <a:pt x="87" y="26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8" name="Freeform 383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79" name="Freeform 384"/>
                <p:cNvSpPr>
                  <a:spLocks/>
                </p:cNvSpPr>
                <p:nvPr/>
              </p:nvSpPr>
              <p:spPr bwMode="auto">
                <a:xfrm>
                  <a:off x="6286058" y="2986712"/>
                  <a:ext cx="728475" cy="551496"/>
                </a:xfrm>
                <a:custGeom>
                  <a:avLst/>
                  <a:gdLst>
                    <a:gd name="T0" fmla="*/ 2147483647 w 680"/>
                    <a:gd name="T1" fmla="*/ 2147483647 h 515"/>
                    <a:gd name="T2" fmla="*/ 2147483647 w 680"/>
                    <a:gd name="T3" fmla="*/ 0 h 515"/>
                    <a:gd name="T4" fmla="*/ 2147483647 w 680"/>
                    <a:gd name="T5" fmla="*/ 2147483647 h 515"/>
                    <a:gd name="T6" fmla="*/ 2147483647 w 680"/>
                    <a:gd name="T7" fmla="*/ 2147483647 h 515"/>
                    <a:gd name="T8" fmla="*/ 2147483647 w 680"/>
                    <a:gd name="T9" fmla="*/ 2147483647 h 515"/>
                    <a:gd name="T10" fmla="*/ 2147483647 w 680"/>
                    <a:gd name="T11" fmla="*/ 2147483647 h 515"/>
                    <a:gd name="T12" fmla="*/ 2147483647 w 680"/>
                    <a:gd name="T13" fmla="*/ 2147483647 h 515"/>
                    <a:gd name="T14" fmla="*/ 2147483647 w 680"/>
                    <a:gd name="T15" fmla="*/ 2147483647 h 515"/>
                    <a:gd name="T16" fmla="*/ 2147483647 w 680"/>
                    <a:gd name="T17" fmla="*/ 2147483647 h 515"/>
                    <a:gd name="T18" fmla="*/ 2147483647 w 680"/>
                    <a:gd name="T19" fmla="*/ 2147483647 h 515"/>
                    <a:gd name="T20" fmla="*/ 2147483647 w 680"/>
                    <a:gd name="T21" fmla="*/ 2147483647 h 515"/>
                    <a:gd name="T22" fmla="*/ 2147483647 w 680"/>
                    <a:gd name="T23" fmla="*/ 2147483647 h 515"/>
                    <a:gd name="T24" fmla="*/ 2147483647 w 680"/>
                    <a:gd name="T25" fmla="*/ 2147483647 h 515"/>
                    <a:gd name="T26" fmla="*/ 2147483647 w 680"/>
                    <a:gd name="T27" fmla="*/ 2147483647 h 515"/>
                    <a:gd name="T28" fmla="*/ 2147483647 w 680"/>
                    <a:gd name="T29" fmla="*/ 2147483647 h 515"/>
                    <a:gd name="T30" fmla="*/ 2147483647 w 680"/>
                    <a:gd name="T31" fmla="*/ 2147483647 h 515"/>
                    <a:gd name="T32" fmla="*/ 2147483647 w 680"/>
                    <a:gd name="T33" fmla="*/ 2147483647 h 515"/>
                    <a:gd name="T34" fmla="*/ 2147483647 w 680"/>
                    <a:gd name="T35" fmla="*/ 2147483647 h 515"/>
                    <a:gd name="T36" fmla="*/ 2147483647 w 680"/>
                    <a:gd name="T37" fmla="*/ 2147483647 h 515"/>
                    <a:gd name="T38" fmla="*/ 2147483647 w 680"/>
                    <a:gd name="T39" fmla="*/ 2147483647 h 515"/>
                    <a:gd name="T40" fmla="*/ 2147483647 w 680"/>
                    <a:gd name="T41" fmla="*/ 2147483647 h 515"/>
                    <a:gd name="T42" fmla="*/ 2147483647 w 680"/>
                    <a:gd name="T43" fmla="*/ 2147483647 h 515"/>
                    <a:gd name="T44" fmla="*/ 2147483647 w 680"/>
                    <a:gd name="T45" fmla="*/ 2147483647 h 515"/>
                    <a:gd name="T46" fmla="*/ 2147483647 w 680"/>
                    <a:gd name="T47" fmla="*/ 2147483647 h 515"/>
                    <a:gd name="T48" fmla="*/ 2147483647 w 680"/>
                    <a:gd name="T49" fmla="*/ 2147483647 h 515"/>
                    <a:gd name="T50" fmla="*/ 2147483647 w 680"/>
                    <a:gd name="T51" fmla="*/ 2147483647 h 515"/>
                    <a:gd name="T52" fmla="*/ 2147483647 w 680"/>
                    <a:gd name="T53" fmla="*/ 2147483647 h 515"/>
                    <a:gd name="T54" fmla="*/ 2147483647 w 680"/>
                    <a:gd name="T55" fmla="*/ 2147483647 h 515"/>
                    <a:gd name="T56" fmla="*/ 2147483647 w 680"/>
                    <a:gd name="T57" fmla="*/ 2147483647 h 515"/>
                    <a:gd name="T58" fmla="*/ 2147483647 w 680"/>
                    <a:gd name="T59" fmla="*/ 2147483647 h 515"/>
                    <a:gd name="T60" fmla="*/ 2147483647 w 680"/>
                    <a:gd name="T61" fmla="*/ 2147483647 h 515"/>
                    <a:gd name="T62" fmla="*/ 2147483647 w 680"/>
                    <a:gd name="T63" fmla="*/ 2147483647 h 515"/>
                    <a:gd name="T64" fmla="*/ 2147483647 w 680"/>
                    <a:gd name="T65" fmla="*/ 2147483647 h 515"/>
                    <a:gd name="T66" fmla="*/ 2147483647 w 680"/>
                    <a:gd name="T67" fmla="*/ 2147483647 h 515"/>
                    <a:gd name="T68" fmla="*/ 2147483647 w 680"/>
                    <a:gd name="T69" fmla="*/ 2147483647 h 515"/>
                    <a:gd name="T70" fmla="*/ 2147483647 w 680"/>
                    <a:gd name="T71" fmla="*/ 2147483647 h 515"/>
                    <a:gd name="T72" fmla="*/ 2147483647 w 680"/>
                    <a:gd name="T73" fmla="*/ 2147483647 h 515"/>
                    <a:gd name="T74" fmla="*/ 2147483647 w 680"/>
                    <a:gd name="T75" fmla="*/ 2147483647 h 515"/>
                    <a:gd name="T76" fmla="*/ 2147483647 w 680"/>
                    <a:gd name="T77" fmla="*/ 2147483647 h 515"/>
                    <a:gd name="T78" fmla="*/ 2147483647 w 680"/>
                    <a:gd name="T79" fmla="*/ 2147483647 h 515"/>
                    <a:gd name="T80" fmla="*/ 2147483647 w 680"/>
                    <a:gd name="T81" fmla="*/ 2147483647 h 515"/>
                    <a:gd name="T82" fmla="*/ 2147483647 w 680"/>
                    <a:gd name="T83" fmla="*/ 2147483647 h 515"/>
                    <a:gd name="T84" fmla="*/ 2147483647 w 680"/>
                    <a:gd name="T85" fmla="*/ 2147483647 h 515"/>
                    <a:gd name="T86" fmla="*/ 2147483647 w 680"/>
                    <a:gd name="T87" fmla="*/ 2147483647 h 515"/>
                    <a:gd name="T88" fmla="*/ 2147483647 w 680"/>
                    <a:gd name="T89" fmla="*/ 2147483647 h 515"/>
                    <a:gd name="T90" fmla="*/ 2147483647 w 680"/>
                    <a:gd name="T91" fmla="*/ 2147483647 h 515"/>
                    <a:gd name="T92" fmla="*/ 2147483647 w 680"/>
                    <a:gd name="T93" fmla="*/ 2147483647 h 515"/>
                    <a:gd name="T94" fmla="*/ 2147483647 w 680"/>
                    <a:gd name="T95" fmla="*/ 2147483647 h 515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0"/>
                    <a:gd name="T145" fmla="*/ 0 h 515"/>
                    <a:gd name="T146" fmla="*/ 680 w 680"/>
                    <a:gd name="T147" fmla="*/ 515 h 515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0" h="515">
                      <a:moveTo>
                        <a:pt x="593" y="79"/>
                      </a:moveTo>
                      <a:lnTo>
                        <a:pt x="567" y="61"/>
                      </a:lnTo>
                      <a:lnTo>
                        <a:pt x="575" y="35"/>
                      </a:lnTo>
                      <a:lnTo>
                        <a:pt x="558" y="0"/>
                      </a:lnTo>
                      <a:lnTo>
                        <a:pt x="540" y="18"/>
                      </a:lnTo>
                      <a:lnTo>
                        <a:pt x="532" y="96"/>
                      </a:lnTo>
                      <a:lnTo>
                        <a:pt x="506" y="122"/>
                      </a:lnTo>
                      <a:lnTo>
                        <a:pt x="488" y="122"/>
                      </a:lnTo>
                      <a:lnTo>
                        <a:pt x="471" y="105"/>
                      </a:lnTo>
                      <a:lnTo>
                        <a:pt x="462" y="96"/>
                      </a:lnTo>
                      <a:lnTo>
                        <a:pt x="445" y="96"/>
                      </a:lnTo>
                      <a:lnTo>
                        <a:pt x="427" y="79"/>
                      </a:lnTo>
                      <a:lnTo>
                        <a:pt x="445" y="53"/>
                      </a:lnTo>
                      <a:lnTo>
                        <a:pt x="453" y="35"/>
                      </a:lnTo>
                      <a:lnTo>
                        <a:pt x="453" y="26"/>
                      </a:lnTo>
                      <a:lnTo>
                        <a:pt x="445" y="26"/>
                      </a:lnTo>
                      <a:lnTo>
                        <a:pt x="436" y="26"/>
                      </a:lnTo>
                      <a:lnTo>
                        <a:pt x="418" y="26"/>
                      </a:lnTo>
                      <a:lnTo>
                        <a:pt x="392" y="0"/>
                      </a:lnTo>
                      <a:lnTo>
                        <a:pt x="375" y="9"/>
                      </a:lnTo>
                      <a:lnTo>
                        <a:pt x="383" y="26"/>
                      </a:lnTo>
                      <a:lnTo>
                        <a:pt x="366" y="35"/>
                      </a:lnTo>
                      <a:lnTo>
                        <a:pt x="340" y="44"/>
                      </a:lnTo>
                      <a:lnTo>
                        <a:pt x="331" y="61"/>
                      </a:lnTo>
                      <a:lnTo>
                        <a:pt x="331" y="87"/>
                      </a:lnTo>
                      <a:lnTo>
                        <a:pt x="305" y="87"/>
                      </a:lnTo>
                      <a:lnTo>
                        <a:pt x="296" y="61"/>
                      </a:lnTo>
                      <a:lnTo>
                        <a:pt x="270" y="53"/>
                      </a:lnTo>
                      <a:lnTo>
                        <a:pt x="270" y="70"/>
                      </a:lnTo>
                      <a:lnTo>
                        <a:pt x="261" y="70"/>
                      </a:lnTo>
                      <a:lnTo>
                        <a:pt x="253" y="87"/>
                      </a:lnTo>
                      <a:lnTo>
                        <a:pt x="244" y="87"/>
                      </a:lnTo>
                      <a:lnTo>
                        <a:pt x="244" y="105"/>
                      </a:lnTo>
                      <a:lnTo>
                        <a:pt x="227" y="105"/>
                      </a:lnTo>
                      <a:lnTo>
                        <a:pt x="218" y="122"/>
                      </a:lnTo>
                      <a:lnTo>
                        <a:pt x="218" y="114"/>
                      </a:lnTo>
                      <a:lnTo>
                        <a:pt x="200" y="122"/>
                      </a:lnTo>
                      <a:lnTo>
                        <a:pt x="200" y="140"/>
                      </a:lnTo>
                      <a:lnTo>
                        <a:pt x="166" y="175"/>
                      </a:lnTo>
                      <a:lnTo>
                        <a:pt x="122" y="175"/>
                      </a:lnTo>
                      <a:lnTo>
                        <a:pt x="104" y="183"/>
                      </a:lnTo>
                      <a:lnTo>
                        <a:pt x="96" y="183"/>
                      </a:lnTo>
                      <a:lnTo>
                        <a:pt x="87" y="192"/>
                      </a:lnTo>
                      <a:lnTo>
                        <a:pt x="43" y="218"/>
                      </a:lnTo>
                      <a:lnTo>
                        <a:pt x="35" y="210"/>
                      </a:lnTo>
                      <a:lnTo>
                        <a:pt x="35" y="236"/>
                      </a:lnTo>
                      <a:lnTo>
                        <a:pt x="35" y="262"/>
                      </a:lnTo>
                      <a:lnTo>
                        <a:pt x="43" y="271"/>
                      </a:lnTo>
                      <a:lnTo>
                        <a:pt x="35" y="288"/>
                      </a:lnTo>
                      <a:lnTo>
                        <a:pt x="17" y="279"/>
                      </a:lnTo>
                      <a:lnTo>
                        <a:pt x="35" y="340"/>
                      </a:lnTo>
                      <a:lnTo>
                        <a:pt x="17" y="358"/>
                      </a:lnTo>
                      <a:lnTo>
                        <a:pt x="35" y="384"/>
                      </a:lnTo>
                      <a:lnTo>
                        <a:pt x="17" y="419"/>
                      </a:lnTo>
                      <a:lnTo>
                        <a:pt x="0" y="427"/>
                      </a:lnTo>
                      <a:lnTo>
                        <a:pt x="9" y="436"/>
                      </a:lnTo>
                      <a:lnTo>
                        <a:pt x="43" y="445"/>
                      </a:lnTo>
                      <a:lnTo>
                        <a:pt x="87" y="427"/>
                      </a:lnTo>
                      <a:lnTo>
                        <a:pt x="139" y="427"/>
                      </a:lnTo>
                      <a:lnTo>
                        <a:pt x="157" y="410"/>
                      </a:lnTo>
                      <a:lnTo>
                        <a:pt x="218" y="393"/>
                      </a:lnTo>
                      <a:lnTo>
                        <a:pt x="244" y="384"/>
                      </a:lnTo>
                      <a:lnTo>
                        <a:pt x="261" y="384"/>
                      </a:lnTo>
                      <a:lnTo>
                        <a:pt x="279" y="384"/>
                      </a:lnTo>
                      <a:lnTo>
                        <a:pt x="314" y="393"/>
                      </a:lnTo>
                      <a:lnTo>
                        <a:pt x="314" y="410"/>
                      </a:lnTo>
                      <a:lnTo>
                        <a:pt x="322" y="410"/>
                      </a:lnTo>
                      <a:lnTo>
                        <a:pt x="322" y="436"/>
                      </a:lnTo>
                      <a:lnTo>
                        <a:pt x="375" y="410"/>
                      </a:lnTo>
                      <a:lnTo>
                        <a:pt x="349" y="445"/>
                      </a:lnTo>
                      <a:lnTo>
                        <a:pt x="375" y="436"/>
                      </a:lnTo>
                      <a:lnTo>
                        <a:pt x="357" y="454"/>
                      </a:lnTo>
                      <a:lnTo>
                        <a:pt x="375" y="454"/>
                      </a:lnTo>
                      <a:lnTo>
                        <a:pt x="375" y="480"/>
                      </a:lnTo>
                      <a:lnTo>
                        <a:pt x="366" y="488"/>
                      </a:lnTo>
                      <a:lnTo>
                        <a:pt x="375" y="506"/>
                      </a:lnTo>
                      <a:lnTo>
                        <a:pt x="410" y="506"/>
                      </a:lnTo>
                      <a:lnTo>
                        <a:pt x="418" y="515"/>
                      </a:lnTo>
                      <a:lnTo>
                        <a:pt x="445" y="497"/>
                      </a:lnTo>
                      <a:lnTo>
                        <a:pt x="453" y="515"/>
                      </a:lnTo>
                      <a:lnTo>
                        <a:pt x="488" y="506"/>
                      </a:lnTo>
                      <a:lnTo>
                        <a:pt x="514" y="497"/>
                      </a:lnTo>
                      <a:lnTo>
                        <a:pt x="532" y="488"/>
                      </a:lnTo>
                      <a:lnTo>
                        <a:pt x="532" y="480"/>
                      </a:lnTo>
                      <a:lnTo>
                        <a:pt x="558" y="445"/>
                      </a:lnTo>
                      <a:lnTo>
                        <a:pt x="593" y="427"/>
                      </a:lnTo>
                      <a:lnTo>
                        <a:pt x="593" y="410"/>
                      </a:lnTo>
                      <a:lnTo>
                        <a:pt x="619" y="401"/>
                      </a:lnTo>
                      <a:lnTo>
                        <a:pt x="671" y="314"/>
                      </a:lnTo>
                      <a:lnTo>
                        <a:pt x="671" y="297"/>
                      </a:lnTo>
                      <a:lnTo>
                        <a:pt x="680" y="271"/>
                      </a:lnTo>
                      <a:lnTo>
                        <a:pt x="654" y="236"/>
                      </a:lnTo>
                      <a:lnTo>
                        <a:pt x="654" y="218"/>
                      </a:lnTo>
                      <a:lnTo>
                        <a:pt x="636" y="218"/>
                      </a:lnTo>
                      <a:lnTo>
                        <a:pt x="619" y="175"/>
                      </a:lnTo>
                      <a:lnTo>
                        <a:pt x="610" y="157"/>
                      </a:lnTo>
                      <a:lnTo>
                        <a:pt x="593" y="7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0" name="Freeform 385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1" name="Freeform 386"/>
                <p:cNvSpPr>
                  <a:spLocks/>
                </p:cNvSpPr>
                <p:nvPr/>
              </p:nvSpPr>
              <p:spPr bwMode="auto">
                <a:xfrm>
                  <a:off x="6706003" y="3574618"/>
                  <a:ext cx="74990" cy="56756"/>
                </a:xfrm>
                <a:custGeom>
                  <a:avLst/>
                  <a:gdLst>
                    <a:gd name="T0" fmla="*/ 2147483647 w 70"/>
                    <a:gd name="T1" fmla="*/ 2147483647 h 53"/>
                    <a:gd name="T2" fmla="*/ 2147483647 w 70"/>
                    <a:gd name="T3" fmla="*/ 0 h 53"/>
                    <a:gd name="T4" fmla="*/ 2147483647 w 70"/>
                    <a:gd name="T5" fmla="*/ 2147483647 h 53"/>
                    <a:gd name="T6" fmla="*/ 2147483647 w 70"/>
                    <a:gd name="T7" fmla="*/ 0 h 53"/>
                    <a:gd name="T8" fmla="*/ 2147483647 w 70"/>
                    <a:gd name="T9" fmla="*/ 2147483647 h 53"/>
                    <a:gd name="T10" fmla="*/ 0 w 70"/>
                    <a:gd name="T11" fmla="*/ 2147483647 h 53"/>
                    <a:gd name="T12" fmla="*/ 2147483647 w 70"/>
                    <a:gd name="T13" fmla="*/ 2147483647 h 53"/>
                    <a:gd name="T14" fmla="*/ 2147483647 w 70"/>
                    <a:gd name="T15" fmla="*/ 2147483647 h 53"/>
                    <a:gd name="T16" fmla="*/ 2147483647 w 70"/>
                    <a:gd name="T17" fmla="*/ 2147483647 h 5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"/>
                    <a:gd name="T28" fmla="*/ 0 h 53"/>
                    <a:gd name="T29" fmla="*/ 70 w 70"/>
                    <a:gd name="T30" fmla="*/ 53 h 5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" h="53">
                      <a:moveTo>
                        <a:pt x="70" y="9"/>
                      </a:moveTo>
                      <a:lnTo>
                        <a:pt x="70" y="0"/>
                      </a:lnTo>
                      <a:lnTo>
                        <a:pt x="35" y="9"/>
                      </a:lnTo>
                      <a:lnTo>
                        <a:pt x="26" y="0"/>
                      </a:lnTo>
                      <a:lnTo>
                        <a:pt x="18" y="9"/>
                      </a:lnTo>
                      <a:lnTo>
                        <a:pt x="0" y="35"/>
                      </a:lnTo>
                      <a:lnTo>
                        <a:pt x="9" y="53"/>
                      </a:lnTo>
                      <a:lnTo>
                        <a:pt x="35" y="44"/>
                      </a:lnTo>
                      <a:lnTo>
                        <a:pt x="7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2" name="Freeform 387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3" name="Freeform 388"/>
                <p:cNvSpPr>
                  <a:spLocks/>
                </p:cNvSpPr>
                <p:nvPr/>
              </p:nvSpPr>
              <p:spPr bwMode="auto">
                <a:xfrm>
                  <a:off x="6033235" y="2669736"/>
                  <a:ext cx="197117" cy="223811"/>
                </a:xfrm>
                <a:custGeom>
                  <a:avLst/>
                  <a:gdLst>
                    <a:gd name="T0" fmla="*/ 2147483647 w 184"/>
                    <a:gd name="T1" fmla="*/ 2147483647 h 209"/>
                    <a:gd name="T2" fmla="*/ 2147483647 w 184"/>
                    <a:gd name="T3" fmla="*/ 2147483647 h 209"/>
                    <a:gd name="T4" fmla="*/ 0 w 184"/>
                    <a:gd name="T5" fmla="*/ 0 h 209"/>
                    <a:gd name="T6" fmla="*/ 2147483647 w 184"/>
                    <a:gd name="T7" fmla="*/ 2147483647 h 209"/>
                    <a:gd name="T8" fmla="*/ 2147483647 w 184"/>
                    <a:gd name="T9" fmla="*/ 2147483647 h 209"/>
                    <a:gd name="T10" fmla="*/ 2147483647 w 184"/>
                    <a:gd name="T11" fmla="*/ 2147483647 h 209"/>
                    <a:gd name="T12" fmla="*/ 2147483647 w 184"/>
                    <a:gd name="T13" fmla="*/ 2147483647 h 209"/>
                    <a:gd name="T14" fmla="*/ 2147483647 w 184"/>
                    <a:gd name="T15" fmla="*/ 2147483647 h 209"/>
                    <a:gd name="T16" fmla="*/ 2147483647 w 184"/>
                    <a:gd name="T17" fmla="*/ 2147483647 h 209"/>
                    <a:gd name="T18" fmla="*/ 2147483647 w 184"/>
                    <a:gd name="T19" fmla="*/ 2147483647 h 209"/>
                    <a:gd name="T20" fmla="*/ 2147483647 w 184"/>
                    <a:gd name="T21" fmla="*/ 2147483647 h 209"/>
                    <a:gd name="T22" fmla="*/ 2147483647 w 184"/>
                    <a:gd name="T23" fmla="*/ 2147483647 h 209"/>
                    <a:gd name="T24" fmla="*/ 2147483647 w 184"/>
                    <a:gd name="T25" fmla="*/ 2147483647 h 209"/>
                    <a:gd name="T26" fmla="*/ 2147483647 w 184"/>
                    <a:gd name="T27" fmla="*/ 2147483647 h 209"/>
                    <a:gd name="T28" fmla="*/ 2147483647 w 184"/>
                    <a:gd name="T29" fmla="*/ 2147483647 h 209"/>
                    <a:gd name="T30" fmla="*/ 2147483647 w 184"/>
                    <a:gd name="T31" fmla="*/ 2147483647 h 209"/>
                    <a:gd name="T32" fmla="*/ 2147483647 w 184"/>
                    <a:gd name="T33" fmla="*/ 2147483647 h 209"/>
                    <a:gd name="T34" fmla="*/ 2147483647 w 184"/>
                    <a:gd name="T35" fmla="*/ 2147483647 h 209"/>
                    <a:gd name="T36" fmla="*/ 2147483647 w 184"/>
                    <a:gd name="T37" fmla="*/ 2147483647 h 209"/>
                    <a:gd name="T38" fmla="*/ 2147483647 w 184"/>
                    <a:gd name="T39" fmla="*/ 2147483647 h 209"/>
                    <a:gd name="T40" fmla="*/ 2147483647 w 184"/>
                    <a:gd name="T41" fmla="*/ 2147483647 h 209"/>
                    <a:gd name="T42" fmla="*/ 2147483647 w 184"/>
                    <a:gd name="T43" fmla="*/ 2147483647 h 209"/>
                    <a:gd name="T44" fmla="*/ 2147483647 w 184"/>
                    <a:gd name="T45" fmla="*/ 2147483647 h 20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84"/>
                    <a:gd name="T70" fmla="*/ 0 h 209"/>
                    <a:gd name="T71" fmla="*/ 184 w 184"/>
                    <a:gd name="T72" fmla="*/ 209 h 20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84" h="209">
                      <a:moveTo>
                        <a:pt x="44" y="9"/>
                      </a:move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18" y="26"/>
                      </a:lnTo>
                      <a:lnTo>
                        <a:pt x="35" y="44"/>
                      </a:lnTo>
                      <a:lnTo>
                        <a:pt x="53" y="52"/>
                      </a:lnTo>
                      <a:lnTo>
                        <a:pt x="61" y="70"/>
                      </a:lnTo>
                      <a:lnTo>
                        <a:pt x="70" y="105"/>
                      </a:lnTo>
                      <a:lnTo>
                        <a:pt x="88" y="113"/>
                      </a:lnTo>
                      <a:lnTo>
                        <a:pt x="88" y="139"/>
                      </a:lnTo>
                      <a:lnTo>
                        <a:pt x="114" y="157"/>
                      </a:lnTo>
                      <a:lnTo>
                        <a:pt x="114" y="174"/>
                      </a:lnTo>
                      <a:lnTo>
                        <a:pt x="157" y="209"/>
                      </a:lnTo>
                      <a:lnTo>
                        <a:pt x="184" y="209"/>
                      </a:lnTo>
                      <a:lnTo>
                        <a:pt x="184" y="157"/>
                      </a:lnTo>
                      <a:lnTo>
                        <a:pt x="166" y="148"/>
                      </a:lnTo>
                      <a:lnTo>
                        <a:pt x="157" y="122"/>
                      </a:lnTo>
                      <a:lnTo>
                        <a:pt x="140" y="122"/>
                      </a:lnTo>
                      <a:lnTo>
                        <a:pt x="140" y="105"/>
                      </a:lnTo>
                      <a:lnTo>
                        <a:pt x="149" y="96"/>
                      </a:lnTo>
                      <a:lnTo>
                        <a:pt x="114" y="70"/>
                      </a:lnTo>
                      <a:lnTo>
                        <a:pt x="88" y="70"/>
                      </a:lnTo>
                      <a:lnTo>
                        <a:pt x="44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4" name="Freeform 389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5" name="Freeform 390"/>
                <p:cNvSpPr>
                  <a:spLocks/>
                </p:cNvSpPr>
                <p:nvPr/>
              </p:nvSpPr>
              <p:spPr bwMode="auto">
                <a:xfrm>
                  <a:off x="6127508" y="2669736"/>
                  <a:ext cx="73919" cy="83527"/>
                </a:xfrm>
                <a:custGeom>
                  <a:avLst/>
                  <a:gdLst>
                    <a:gd name="T0" fmla="*/ 2147483647 w 69"/>
                    <a:gd name="T1" fmla="*/ 0 h 78"/>
                    <a:gd name="T2" fmla="*/ 0 w 69"/>
                    <a:gd name="T3" fmla="*/ 0 h 78"/>
                    <a:gd name="T4" fmla="*/ 0 w 69"/>
                    <a:gd name="T5" fmla="*/ 2147483647 h 78"/>
                    <a:gd name="T6" fmla="*/ 0 w 69"/>
                    <a:gd name="T7" fmla="*/ 2147483647 h 78"/>
                    <a:gd name="T8" fmla="*/ 2147483647 w 69"/>
                    <a:gd name="T9" fmla="*/ 2147483647 h 78"/>
                    <a:gd name="T10" fmla="*/ 2147483647 w 69"/>
                    <a:gd name="T11" fmla="*/ 2147483647 h 78"/>
                    <a:gd name="T12" fmla="*/ 2147483647 w 69"/>
                    <a:gd name="T13" fmla="*/ 2147483647 h 78"/>
                    <a:gd name="T14" fmla="*/ 2147483647 w 69"/>
                    <a:gd name="T15" fmla="*/ 2147483647 h 78"/>
                    <a:gd name="T16" fmla="*/ 2147483647 w 69"/>
                    <a:gd name="T17" fmla="*/ 2147483647 h 78"/>
                    <a:gd name="T18" fmla="*/ 2147483647 w 69"/>
                    <a:gd name="T19" fmla="*/ 0 h 78"/>
                    <a:gd name="T20" fmla="*/ 2147483647 w 69"/>
                    <a:gd name="T21" fmla="*/ 0 h 7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9"/>
                    <a:gd name="T34" fmla="*/ 0 h 78"/>
                    <a:gd name="T35" fmla="*/ 69 w 69"/>
                    <a:gd name="T36" fmla="*/ 78 h 7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9" h="7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0" y="26"/>
                      </a:lnTo>
                      <a:lnTo>
                        <a:pt x="26" y="61"/>
                      </a:lnTo>
                      <a:lnTo>
                        <a:pt x="52" y="78"/>
                      </a:lnTo>
                      <a:lnTo>
                        <a:pt x="69" y="70"/>
                      </a:lnTo>
                      <a:lnTo>
                        <a:pt x="52" y="61"/>
                      </a:lnTo>
                      <a:lnTo>
                        <a:pt x="52" y="17"/>
                      </a:lnTo>
                      <a:lnTo>
                        <a:pt x="43" y="0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6" name="Freeform 391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7" name="Freeform 392"/>
                <p:cNvSpPr>
                  <a:spLocks/>
                </p:cNvSpPr>
                <p:nvPr/>
              </p:nvSpPr>
              <p:spPr bwMode="auto">
                <a:xfrm>
                  <a:off x="6687791" y="2790744"/>
                  <a:ext cx="176763" cy="168126"/>
                </a:xfrm>
                <a:custGeom>
                  <a:avLst/>
                  <a:gdLst>
                    <a:gd name="T0" fmla="*/ 2147483647 w 165"/>
                    <a:gd name="T1" fmla="*/ 2147483647 h 157"/>
                    <a:gd name="T2" fmla="*/ 2147483647 w 165"/>
                    <a:gd name="T3" fmla="*/ 2147483647 h 157"/>
                    <a:gd name="T4" fmla="*/ 2147483647 w 165"/>
                    <a:gd name="T5" fmla="*/ 2147483647 h 157"/>
                    <a:gd name="T6" fmla="*/ 2147483647 w 165"/>
                    <a:gd name="T7" fmla="*/ 2147483647 h 157"/>
                    <a:gd name="T8" fmla="*/ 2147483647 w 165"/>
                    <a:gd name="T9" fmla="*/ 2147483647 h 157"/>
                    <a:gd name="T10" fmla="*/ 2147483647 w 165"/>
                    <a:gd name="T11" fmla="*/ 2147483647 h 157"/>
                    <a:gd name="T12" fmla="*/ 2147483647 w 165"/>
                    <a:gd name="T13" fmla="*/ 2147483647 h 157"/>
                    <a:gd name="T14" fmla="*/ 2147483647 w 165"/>
                    <a:gd name="T15" fmla="*/ 2147483647 h 157"/>
                    <a:gd name="T16" fmla="*/ 2147483647 w 165"/>
                    <a:gd name="T17" fmla="*/ 2147483647 h 157"/>
                    <a:gd name="T18" fmla="*/ 2147483647 w 165"/>
                    <a:gd name="T19" fmla="*/ 0 h 157"/>
                    <a:gd name="T20" fmla="*/ 0 w 165"/>
                    <a:gd name="T21" fmla="*/ 2147483647 h 157"/>
                    <a:gd name="T22" fmla="*/ 0 w 165"/>
                    <a:gd name="T23" fmla="*/ 2147483647 h 157"/>
                    <a:gd name="T24" fmla="*/ 2147483647 w 165"/>
                    <a:gd name="T25" fmla="*/ 2147483647 h 157"/>
                    <a:gd name="T26" fmla="*/ 2147483647 w 165"/>
                    <a:gd name="T27" fmla="*/ 2147483647 h 157"/>
                    <a:gd name="T28" fmla="*/ 2147483647 w 165"/>
                    <a:gd name="T29" fmla="*/ 2147483647 h 157"/>
                    <a:gd name="T30" fmla="*/ 2147483647 w 165"/>
                    <a:gd name="T31" fmla="*/ 2147483647 h 157"/>
                    <a:gd name="T32" fmla="*/ 2147483647 w 165"/>
                    <a:gd name="T33" fmla="*/ 2147483647 h 157"/>
                    <a:gd name="T34" fmla="*/ 2147483647 w 165"/>
                    <a:gd name="T35" fmla="*/ 2147483647 h 157"/>
                    <a:gd name="T36" fmla="*/ 2147483647 w 165"/>
                    <a:gd name="T37" fmla="*/ 2147483647 h 157"/>
                    <a:gd name="T38" fmla="*/ 2147483647 w 165"/>
                    <a:gd name="T39" fmla="*/ 2147483647 h 157"/>
                    <a:gd name="T40" fmla="*/ 2147483647 w 165"/>
                    <a:gd name="T41" fmla="*/ 2147483647 h 157"/>
                    <a:gd name="T42" fmla="*/ 2147483647 w 165"/>
                    <a:gd name="T43" fmla="*/ 2147483647 h 157"/>
                    <a:gd name="T44" fmla="*/ 2147483647 w 165"/>
                    <a:gd name="T45" fmla="*/ 2147483647 h 157"/>
                    <a:gd name="T46" fmla="*/ 2147483647 w 165"/>
                    <a:gd name="T47" fmla="*/ 2147483647 h 157"/>
                    <a:gd name="T48" fmla="*/ 2147483647 w 165"/>
                    <a:gd name="T49" fmla="*/ 2147483647 h 157"/>
                    <a:gd name="T50" fmla="*/ 2147483647 w 165"/>
                    <a:gd name="T51" fmla="*/ 2147483647 h 157"/>
                    <a:gd name="T52" fmla="*/ 2147483647 w 165"/>
                    <a:gd name="T53" fmla="*/ 2147483647 h 157"/>
                    <a:gd name="T54" fmla="*/ 2147483647 w 165"/>
                    <a:gd name="T55" fmla="*/ 2147483647 h 157"/>
                    <a:gd name="T56" fmla="*/ 2147483647 w 165"/>
                    <a:gd name="T57" fmla="*/ 2147483647 h 157"/>
                    <a:gd name="T58" fmla="*/ 2147483647 w 165"/>
                    <a:gd name="T59" fmla="*/ 2147483647 h 157"/>
                    <a:gd name="T60" fmla="*/ 2147483647 w 165"/>
                    <a:gd name="T61" fmla="*/ 2147483647 h 157"/>
                    <a:gd name="T62" fmla="*/ 2147483647 w 165"/>
                    <a:gd name="T63" fmla="*/ 2147483647 h 157"/>
                    <a:gd name="T64" fmla="*/ 2147483647 w 165"/>
                    <a:gd name="T65" fmla="*/ 2147483647 h 157"/>
                    <a:gd name="T66" fmla="*/ 2147483647 w 165"/>
                    <a:gd name="T67" fmla="*/ 2147483647 h 157"/>
                    <a:gd name="T68" fmla="*/ 2147483647 w 165"/>
                    <a:gd name="T69" fmla="*/ 2147483647 h 15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65"/>
                    <a:gd name="T106" fmla="*/ 0 h 157"/>
                    <a:gd name="T107" fmla="*/ 165 w 165"/>
                    <a:gd name="T108" fmla="*/ 157 h 15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65" h="157">
                      <a:moveTo>
                        <a:pt x="165" y="35"/>
                      </a:moveTo>
                      <a:lnTo>
                        <a:pt x="139" y="26"/>
                      </a:lnTo>
                      <a:lnTo>
                        <a:pt x="122" y="18"/>
                      </a:lnTo>
                      <a:lnTo>
                        <a:pt x="104" y="18"/>
                      </a:lnTo>
                      <a:lnTo>
                        <a:pt x="96" y="26"/>
                      </a:lnTo>
                      <a:lnTo>
                        <a:pt x="87" y="44"/>
                      </a:lnTo>
                      <a:lnTo>
                        <a:pt x="70" y="44"/>
                      </a:lnTo>
                      <a:lnTo>
                        <a:pt x="52" y="35"/>
                      </a:lnTo>
                      <a:lnTo>
                        <a:pt x="52" y="9"/>
                      </a:lnTo>
                      <a:lnTo>
                        <a:pt x="26" y="0"/>
                      </a:ln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7" y="26"/>
                      </a:lnTo>
                      <a:lnTo>
                        <a:pt x="43" y="26"/>
                      </a:lnTo>
                      <a:lnTo>
                        <a:pt x="35" y="35"/>
                      </a:lnTo>
                      <a:lnTo>
                        <a:pt x="17" y="35"/>
                      </a:lnTo>
                      <a:lnTo>
                        <a:pt x="26" y="44"/>
                      </a:lnTo>
                      <a:lnTo>
                        <a:pt x="26" y="87"/>
                      </a:lnTo>
                      <a:lnTo>
                        <a:pt x="43" y="61"/>
                      </a:lnTo>
                      <a:lnTo>
                        <a:pt x="43" y="53"/>
                      </a:lnTo>
                      <a:lnTo>
                        <a:pt x="52" y="44"/>
                      </a:lnTo>
                      <a:lnTo>
                        <a:pt x="52" y="61"/>
                      </a:lnTo>
                      <a:lnTo>
                        <a:pt x="61" y="61"/>
                      </a:lnTo>
                      <a:lnTo>
                        <a:pt x="61" y="79"/>
                      </a:lnTo>
                      <a:lnTo>
                        <a:pt x="87" y="79"/>
                      </a:lnTo>
                      <a:lnTo>
                        <a:pt x="113" y="87"/>
                      </a:lnTo>
                      <a:lnTo>
                        <a:pt x="122" y="122"/>
                      </a:lnTo>
                      <a:lnTo>
                        <a:pt x="131" y="140"/>
                      </a:lnTo>
                      <a:lnTo>
                        <a:pt x="139" y="140"/>
                      </a:lnTo>
                      <a:lnTo>
                        <a:pt x="165" y="157"/>
                      </a:lnTo>
                      <a:lnTo>
                        <a:pt x="165" y="122"/>
                      </a:lnTo>
                      <a:lnTo>
                        <a:pt x="165" y="105"/>
                      </a:lnTo>
                      <a:lnTo>
                        <a:pt x="165" y="96"/>
                      </a:lnTo>
                      <a:lnTo>
                        <a:pt x="165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8" name="Freeform 393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89" name="Freeform 394"/>
                <p:cNvSpPr>
                  <a:spLocks/>
                </p:cNvSpPr>
                <p:nvPr/>
              </p:nvSpPr>
              <p:spPr bwMode="auto">
                <a:xfrm>
                  <a:off x="6799205" y="2921390"/>
                  <a:ext cx="28925" cy="27842"/>
                </a:xfrm>
                <a:custGeom>
                  <a:avLst/>
                  <a:gdLst>
                    <a:gd name="T0" fmla="*/ 2147483647 w 27"/>
                    <a:gd name="T1" fmla="*/ 0 h 26"/>
                    <a:gd name="T2" fmla="*/ 0 w 27"/>
                    <a:gd name="T3" fmla="*/ 2147483647 h 26"/>
                    <a:gd name="T4" fmla="*/ 0 w 27"/>
                    <a:gd name="T5" fmla="*/ 2147483647 h 26"/>
                    <a:gd name="T6" fmla="*/ 2147483647 w 27"/>
                    <a:gd name="T7" fmla="*/ 2147483647 h 26"/>
                    <a:gd name="T8" fmla="*/ 2147483647 w 27"/>
                    <a:gd name="T9" fmla="*/ 2147483647 h 26"/>
                    <a:gd name="T10" fmla="*/ 2147483647 w 27"/>
                    <a:gd name="T11" fmla="*/ 0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18" y="0"/>
                      </a:moveTo>
                      <a:lnTo>
                        <a:pt x="0" y="9"/>
                      </a:lnTo>
                      <a:lnTo>
                        <a:pt x="0" y="26"/>
                      </a:lnTo>
                      <a:lnTo>
                        <a:pt x="18" y="26"/>
                      </a:lnTo>
                      <a:lnTo>
                        <a:pt x="27" y="1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0" name="Freeform 395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1" name="Freeform 396"/>
                <p:cNvSpPr>
                  <a:spLocks/>
                </p:cNvSpPr>
                <p:nvPr/>
              </p:nvSpPr>
              <p:spPr bwMode="auto">
                <a:xfrm>
                  <a:off x="6659938" y="2810020"/>
                  <a:ext cx="18212" cy="18205"/>
                </a:xfrm>
                <a:custGeom>
                  <a:avLst/>
                  <a:gdLst>
                    <a:gd name="T0" fmla="*/ 2147483647 w 17"/>
                    <a:gd name="T1" fmla="*/ 2147483647 h 17"/>
                    <a:gd name="T2" fmla="*/ 2147483647 w 17"/>
                    <a:gd name="T3" fmla="*/ 0 h 17"/>
                    <a:gd name="T4" fmla="*/ 0 w 17"/>
                    <a:gd name="T5" fmla="*/ 2147483647 h 17"/>
                    <a:gd name="T6" fmla="*/ 2147483647 w 17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2" name="Freeform 397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3" name="Freeform 398"/>
                <p:cNvSpPr>
                  <a:spLocks/>
                </p:cNvSpPr>
                <p:nvPr/>
              </p:nvSpPr>
              <p:spPr bwMode="auto">
                <a:xfrm>
                  <a:off x="6631013" y="2828224"/>
                  <a:ext cx="56779" cy="27842"/>
                </a:xfrm>
                <a:custGeom>
                  <a:avLst/>
                  <a:gdLst>
                    <a:gd name="T0" fmla="*/ 2147483647 w 53"/>
                    <a:gd name="T1" fmla="*/ 2147483647 h 26"/>
                    <a:gd name="T2" fmla="*/ 2147483647 w 53"/>
                    <a:gd name="T3" fmla="*/ 2147483647 h 26"/>
                    <a:gd name="T4" fmla="*/ 2147483647 w 53"/>
                    <a:gd name="T5" fmla="*/ 0 h 26"/>
                    <a:gd name="T6" fmla="*/ 2147483647 w 53"/>
                    <a:gd name="T7" fmla="*/ 2147483647 h 26"/>
                    <a:gd name="T8" fmla="*/ 0 w 53"/>
                    <a:gd name="T9" fmla="*/ 0 h 26"/>
                    <a:gd name="T10" fmla="*/ 0 w 53"/>
                    <a:gd name="T11" fmla="*/ 2147483647 h 26"/>
                    <a:gd name="T12" fmla="*/ 2147483647 w 53"/>
                    <a:gd name="T13" fmla="*/ 2147483647 h 26"/>
                    <a:gd name="T14" fmla="*/ 2147483647 w 53"/>
                    <a:gd name="T15" fmla="*/ 2147483647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3"/>
                    <a:gd name="T25" fmla="*/ 0 h 26"/>
                    <a:gd name="T26" fmla="*/ 53 w 53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3" h="26">
                      <a:moveTo>
                        <a:pt x="44" y="26"/>
                      </a:moveTo>
                      <a:lnTo>
                        <a:pt x="53" y="18"/>
                      </a:lnTo>
                      <a:lnTo>
                        <a:pt x="35" y="0"/>
                      </a:lnTo>
                      <a:lnTo>
                        <a:pt x="18" y="9"/>
                      </a:lnTo>
                      <a:lnTo>
                        <a:pt x="0" y="0"/>
                      </a:lnTo>
                      <a:lnTo>
                        <a:pt x="0" y="18"/>
                      </a:lnTo>
                      <a:lnTo>
                        <a:pt x="18" y="9"/>
                      </a:lnTo>
                      <a:lnTo>
                        <a:pt x="4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4" name="Freeform 399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5" name="Freeform 400"/>
                <p:cNvSpPr>
                  <a:spLocks/>
                </p:cNvSpPr>
                <p:nvPr/>
              </p:nvSpPr>
              <p:spPr bwMode="auto">
                <a:xfrm>
                  <a:off x="6762781" y="2810020"/>
                  <a:ext cx="27853" cy="8567"/>
                </a:xfrm>
                <a:custGeom>
                  <a:avLst/>
                  <a:gdLst>
                    <a:gd name="T0" fmla="*/ 0 w 26"/>
                    <a:gd name="T1" fmla="*/ 2147483647 h 8"/>
                    <a:gd name="T2" fmla="*/ 2147483647 w 26"/>
                    <a:gd name="T3" fmla="*/ 2147483647 h 8"/>
                    <a:gd name="T4" fmla="*/ 2147483647 w 26"/>
                    <a:gd name="T5" fmla="*/ 0 h 8"/>
                    <a:gd name="T6" fmla="*/ 0 w 26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8"/>
                    <a:gd name="T14" fmla="*/ 26 w 2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8">
                      <a:moveTo>
                        <a:pt x="0" y="8"/>
                      </a:moveTo>
                      <a:lnTo>
                        <a:pt x="2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6" name="Freeform 401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7" name="Freeform 402"/>
                <p:cNvSpPr>
                  <a:spLocks/>
                </p:cNvSpPr>
                <p:nvPr/>
              </p:nvSpPr>
              <p:spPr bwMode="auto">
                <a:xfrm>
                  <a:off x="6762781" y="2790744"/>
                  <a:ext cx="18212" cy="9638"/>
                </a:xfrm>
                <a:custGeom>
                  <a:avLst/>
                  <a:gdLst>
                    <a:gd name="T0" fmla="*/ 0 w 17"/>
                    <a:gd name="T1" fmla="*/ 0 h 9"/>
                    <a:gd name="T2" fmla="*/ 0 w 17"/>
                    <a:gd name="T3" fmla="*/ 2147483647 h 9"/>
                    <a:gd name="T4" fmla="*/ 2147483647 w 17"/>
                    <a:gd name="T5" fmla="*/ 2147483647 h 9"/>
                    <a:gd name="T6" fmla="*/ 0 w 17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9"/>
                    <a:gd name="T14" fmla="*/ 17 w 17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8" name="Freeform 403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399" name="Freeform 404"/>
                <p:cNvSpPr>
                  <a:spLocks/>
                </p:cNvSpPr>
                <p:nvPr/>
              </p:nvSpPr>
              <p:spPr bwMode="auto">
                <a:xfrm>
                  <a:off x="6622442" y="2725421"/>
                  <a:ext cx="27853" cy="74961"/>
                </a:xfrm>
                <a:custGeom>
                  <a:avLst/>
                  <a:gdLst>
                    <a:gd name="T0" fmla="*/ 2147483647 w 26"/>
                    <a:gd name="T1" fmla="*/ 2147483647 h 70"/>
                    <a:gd name="T2" fmla="*/ 2147483647 w 26"/>
                    <a:gd name="T3" fmla="*/ 2147483647 h 70"/>
                    <a:gd name="T4" fmla="*/ 2147483647 w 26"/>
                    <a:gd name="T5" fmla="*/ 0 h 70"/>
                    <a:gd name="T6" fmla="*/ 2147483647 w 26"/>
                    <a:gd name="T7" fmla="*/ 2147483647 h 70"/>
                    <a:gd name="T8" fmla="*/ 2147483647 w 26"/>
                    <a:gd name="T9" fmla="*/ 2147483647 h 70"/>
                    <a:gd name="T10" fmla="*/ 0 w 26"/>
                    <a:gd name="T11" fmla="*/ 2147483647 h 70"/>
                    <a:gd name="T12" fmla="*/ 0 w 26"/>
                    <a:gd name="T13" fmla="*/ 2147483647 h 70"/>
                    <a:gd name="T14" fmla="*/ 2147483647 w 26"/>
                    <a:gd name="T15" fmla="*/ 2147483647 h 70"/>
                    <a:gd name="T16" fmla="*/ 2147483647 w 26"/>
                    <a:gd name="T17" fmla="*/ 2147483647 h 70"/>
                    <a:gd name="T18" fmla="*/ 2147483647 w 26"/>
                    <a:gd name="T19" fmla="*/ 2147483647 h 7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70"/>
                    <a:gd name="T32" fmla="*/ 26 w 26"/>
                    <a:gd name="T33" fmla="*/ 70 h 7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70">
                      <a:moveTo>
                        <a:pt x="26" y="53"/>
                      </a:moveTo>
                      <a:lnTo>
                        <a:pt x="26" y="18"/>
                      </a:lnTo>
                      <a:lnTo>
                        <a:pt x="17" y="0"/>
                      </a:lnTo>
                      <a:lnTo>
                        <a:pt x="8" y="18"/>
                      </a:lnTo>
                      <a:lnTo>
                        <a:pt x="8" y="26"/>
                      </a:lnTo>
                      <a:lnTo>
                        <a:pt x="0" y="18"/>
                      </a:lnTo>
                      <a:lnTo>
                        <a:pt x="0" y="61"/>
                      </a:lnTo>
                      <a:lnTo>
                        <a:pt x="8" y="70"/>
                      </a:lnTo>
                      <a:lnTo>
                        <a:pt x="17" y="44"/>
                      </a:lnTo>
                      <a:lnTo>
                        <a:pt x="26" y="53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0" name="Freeform 405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1" name="Freeform 406"/>
                <p:cNvSpPr>
                  <a:spLocks/>
                </p:cNvSpPr>
                <p:nvPr/>
              </p:nvSpPr>
              <p:spPr bwMode="auto">
                <a:xfrm>
                  <a:off x="6463892" y="2744697"/>
                  <a:ext cx="121056" cy="148851"/>
                </a:xfrm>
                <a:custGeom>
                  <a:avLst/>
                  <a:gdLst>
                    <a:gd name="T0" fmla="*/ 2147483647 w 113"/>
                    <a:gd name="T1" fmla="*/ 2147483647 h 139"/>
                    <a:gd name="T2" fmla="*/ 2147483647 w 113"/>
                    <a:gd name="T3" fmla="*/ 2147483647 h 139"/>
                    <a:gd name="T4" fmla="*/ 2147483647 w 113"/>
                    <a:gd name="T5" fmla="*/ 2147483647 h 139"/>
                    <a:gd name="T6" fmla="*/ 2147483647 w 113"/>
                    <a:gd name="T7" fmla="*/ 2147483647 h 139"/>
                    <a:gd name="T8" fmla="*/ 2147483647 w 113"/>
                    <a:gd name="T9" fmla="*/ 2147483647 h 139"/>
                    <a:gd name="T10" fmla="*/ 2147483647 w 113"/>
                    <a:gd name="T11" fmla="*/ 0 h 139"/>
                    <a:gd name="T12" fmla="*/ 2147483647 w 113"/>
                    <a:gd name="T13" fmla="*/ 2147483647 h 139"/>
                    <a:gd name="T14" fmla="*/ 2147483647 w 113"/>
                    <a:gd name="T15" fmla="*/ 2147483647 h 139"/>
                    <a:gd name="T16" fmla="*/ 2147483647 w 113"/>
                    <a:gd name="T17" fmla="*/ 2147483647 h 139"/>
                    <a:gd name="T18" fmla="*/ 2147483647 w 113"/>
                    <a:gd name="T19" fmla="*/ 2147483647 h 139"/>
                    <a:gd name="T20" fmla="*/ 2147483647 w 113"/>
                    <a:gd name="T21" fmla="*/ 2147483647 h 139"/>
                    <a:gd name="T22" fmla="*/ 2147483647 w 113"/>
                    <a:gd name="T23" fmla="*/ 2147483647 h 139"/>
                    <a:gd name="T24" fmla="*/ 2147483647 w 113"/>
                    <a:gd name="T25" fmla="*/ 2147483647 h 139"/>
                    <a:gd name="T26" fmla="*/ 2147483647 w 113"/>
                    <a:gd name="T27" fmla="*/ 2147483647 h 139"/>
                    <a:gd name="T28" fmla="*/ 0 w 113"/>
                    <a:gd name="T29" fmla="*/ 2147483647 h 139"/>
                    <a:gd name="T30" fmla="*/ 2147483647 w 113"/>
                    <a:gd name="T31" fmla="*/ 2147483647 h 139"/>
                    <a:gd name="T32" fmla="*/ 2147483647 w 113"/>
                    <a:gd name="T33" fmla="*/ 2147483647 h 139"/>
                    <a:gd name="T34" fmla="*/ 2147483647 w 113"/>
                    <a:gd name="T35" fmla="*/ 2147483647 h 139"/>
                    <a:gd name="T36" fmla="*/ 2147483647 w 113"/>
                    <a:gd name="T37" fmla="*/ 2147483647 h 139"/>
                    <a:gd name="T38" fmla="*/ 2147483647 w 113"/>
                    <a:gd name="T39" fmla="*/ 2147483647 h 139"/>
                    <a:gd name="T40" fmla="*/ 2147483647 w 113"/>
                    <a:gd name="T41" fmla="*/ 2147483647 h 139"/>
                    <a:gd name="T42" fmla="*/ 2147483647 w 113"/>
                    <a:gd name="T43" fmla="*/ 2147483647 h 139"/>
                    <a:gd name="T44" fmla="*/ 2147483647 w 113"/>
                    <a:gd name="T45" fmla="*/ 2147483647 h 139"/>
                    <a:gd name="T46" fmla="*/ 2147483647 w 113"/>
                    <a:gd name="T47" fmla="*/ 2147483647 h 139"/>
                    <a:gd name="T48" fmla="*/ 2147483647 w 113"/>
                    <a:gd name="T49" fmla="*/ 2147483647 h 139"/>
                    <a:gd name="T50" fmla="*/ 2147483647 w 113"/>
                    <a:gd name="T51" fmla="*/ 2147483647 h 139"/>
                    <a:gd name="T52" fmla="*/ 2147483647 w 113"/>
                    <a:gd name="T53" fmla="*/ 2147483647 h 139"/>
                    <a:gd name="T54" fmla="*/ 2147483647 w 113"/>
                    <a:gd name="T55" fmla="*/ 2147483647 h 139"/>
                    <a:gd name="T56" fmla="*/ 2147483647 w 113"/>
                    <a:gd name="T57" fmla="*/ 2147483647 h 139"/>
                    <a:gd name="T58" fmla="*/ 2147483647 w 113"/>
                    <a:gd name="T59" fmla="*/ 2147483647 h 139"/>
                    <a:gd name="T60" fmla="*/ 2147483647 w 113"/>
                    <a:gd name="T61" fmla="*/ 2147483647 h 139"/>
                    <a:gd name="T62" fmla="*/ 2147483647 w 113"/>
                    <a:gd name="T63" fmla="*/ 2147483647 h 139"/>
                    <a:gd name="T64" fmla="*/ 2147483647 w 113"/>
                    <a:gd name="T65" fmla="*/ 2147483647 h 13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3"/>
                    <a:gd name="T100" fmla="*/ 0 h 139"/>
                    <a:gd name="T101" fmla="*/ 113 w 113"/>
                    <a:gd name="T102" fmla="*/ 139 h 13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3" h="139">
                      <a:moveTo>
                        <a:pt x="34" y="26"/>
                      </a:moveTo>
                      <a:lnTo>
                        <a:pt x="69" y="26"/>
                      </a:lnTo>
                      <a:lnTo>
                        <a:pt x="78" y="35"/>
                      </a:lnTo>
                      <a:lnTo>
                        <a:pt x="95" y="35"/>
                      </a:lnTo>
                      <a:lnTo>
                        <a:pt x="113" y="8"/>
                      </a:lnTo>
                      <a:lnTo>
                        <a:pt x="104" y="0"/>
                      </a:lnTo>
                      <a:lnTo>
                        <a:pt x="95" y="17"/>
                      </a:lnTo>
                      <a:lnTo>
                        <a:pt x="78" y="17"/>
                      </a:lnTo>
                      <a:lnTo>
                        <a:pt x="52" y="8"/>
                      </a:lnTo>
                      <a:lnTo>
                        <a:pt x="34" y="8"/>
                      </a:lnTo>
                      <a:lnTo>
                        <a:pt x="17" y="26"/>
                      </a:lnTo>
                      <a:lnTo>
                        <a:pt x="8" y="52"/>
                      </a:lnTo>
                      <a:lnTo>
                        <a:pt x="8" y="61"/>
                      </a:lnTo>
                      <a:lnTo>
                        <a:pt x="8" y="78"/>
                      </a:lnTo>
                      <a:lnTo>
                        <a:pt x="0" y="87"/>
                      </a:lnTo>
                      <a:lnTo>
                        <a:pt x="8" y="104"/>
                      </a:lnTo>
                      <a:lnTo>
                        <a:pt x="8" y="139"/>
                      </a:lnTo>
                      <a:lnTo>
                        <a:pt x="34" y="122"/>
                      </a:lnTo>
                      <a:lnTo>
                        <a:pt x="26" y="78"/>
                      </a:lnTo>
                      <a:lnTo>
                        <a:pt x="34" y="78"/>
                      </a:lnTo>
                      <a:lnTo>
                        <a:pt x="52" y="130"/>
                      </a:lnTo>
                      <a:lnTo>
                        <a:pt x="78" y="130"/>
                      </a:lnTo>
                      <a:lnTo>
                        <a:pt x="69" y="113"/>
                      </a:lnTo>
                      <a:lnTo>
                        <a:pt x="61" y="104"/>
                      </a:lnTo>
                      <a:lnTo>
                        <a:pt x="61" y="87"/>
                      </a:lnTo>
                      <a:lnTo>
                        <a:pt x="52" y="69"/>
                      </a:lnTo>
                      <a:lnTo>
                        <a:pt x="61" y="61"/>
                      </a:lnTo>
                      <a:lnTo>
                        <a:pt x="78" y="69"/>
                      </a:lnTo>
                      <a:lnTo>
                        <a:pt x="69" y="43"/>
                      </a:lnTo>
                      <a:lnTo>
                        <a:pt x="43" y="52"/>
                      </a:lnTo>
                      <a:lnTo>
                        <a:pt x="34" y="61"/>
                      </a:lnTo>
                      <a:lnTo>
                        <a:pt x="26" y="43"/>
                      </a:lnTo>
                      <a:lnTo>
                        <a:pt x="34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2" name="Freeform 408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3" name="Freeform 409"/>
                <p:cNvSpPr>
                  <a:spLocks/>
                </p:cNvSpPr>
                <p:nvPr/>
              </p:nvSpPr>
              <p:spPr bwMode="auto">
                <a:xfrm>
                  <a:off x="6565665" y="2810020"/>
                  <a:ext cx="37495" cy="18205"/>
                </a:xfrm>
                <a:custGeom>
                  <a:avLst/>
                  <a:gdLst>
                    <a:gd name="T0" fmla="*/ 0 w 35"/>
                    <a:gd name="T1" fmla="*/ 2147483647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2147483647 w 35"/>
                    <a:gd name="T7" fmla="*/ 0 h 17"/>
                    <a:gd name="T8" fmla="*/ 0 w 35"/>
                    <a:gd name="T9" fmla="*/ 0 h 17"/>
                    <a:gd name="T10" fmla="*/ 0 w 35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17"/>
                      </a:moveTo>
                      <a:lnTo>
                        <a:pt x="18" y="8"/>
                      </a:lnTo>
                      <a:lnTo>
                        <a:pt x="35" y="17"/>
                      </a:lnTo>
                      <a:lnTo>
                        <a:pt x="35" y="0"/>
                      </a:lnTo>
                      <a:lnTo>
                        <a:pt x="0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4" name="Freeform 410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5" name="Freeform 411"/>
                <p:cNvSpPr>
                  <a:spLocks/>
                </p:cNvSpPr>
                <p:nvPr/>
              </p:nvSpPr>
              <p:spPr bwMode="auto">
                <a:xfrm>
                  <a:off x="6603160" y="2837862"/>
                  <a:ext cx="19283" cy="18205"/>
                </a:xfrm>
                <a:custGeom>
                  <a:avLst/>
                  <a:gdLst>
                    <a:gd name="T0" fmla="*/ 0 w 18"/>
                    <a:gd name="T1" fmla="*/ 0 h 17"/>
                    <a:gd name="T2" fmla="*/ 0 w 18"/>
                    <a:gd name="T3" fmla="*/ 2147483647 h 17"/>
                    <a:gd name="T4" fmla="*/ 2147483647 w 18"/>
                    <a:gd name="T5" fmla="*/ 0 h 17"/>
                    <a:gd name="T6" fmla="*/ 0 w 18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6" name="Freeform 412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7" name="Freeform 413"/>
                <p:cNvSpPr>
                  <a:spLocks/>
                </p:cNvSpPr>
                <p:nvPr/>
              </p:nvSpPr>
              <p:spPr bwMode="auto">
                <a:xfrm>
                  <a:off x="6584948" y="2921390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2147483647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9" y="18"/>
                      </a:moveTo>
                      <a:lnTo>
                        <a:pt x="26" y="9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8" name="Freeform 414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09" name="Freeform 415"/>
                <p:cNvSpPr>
                  <a:spLocks/>
                </p:cNvSpPr>
                <p:nvPr/>
              </p:nvSpPr>
              <p:spPr bwMode="auto">
                <a:xfrm>
                  <a:off x="6537811" y="2949232"/>
                  <a:ext cx="65349" cy="37481"/>
                </a:xfrm>
                <a:custGeom>
                  <a:avLst/>
                  <a:gdLst>
                    <a:gd name="T0" fmla="*/ 2147483647 w 61"/>
                    <a:gd name="T1" fmla="*/ 0 h 35"/>
                    <a:gd name="T2" fmla="*/ 2147483647 w 61"/>
                    <a:gd name="T3" fmla="*/ 0 h 35"/>
                    <a:gd name="T4" fmla="*/ 2147483647 w 61"/>
                    <a:gd name="T5" fmla="*/ 2147483647 h 35"/>
                    <a:gd name="T6" fmla="*/ 0 w 61"/>
                    <a:gd name="T7" fmla="*/ 2147483647 h 35"/>
                    <a:gd name="T8" fmla="*/ 2147483647 w 61"/>
                    <a:gd name="T9" fmla="*/ 2147483647 h 35"/>
                    <a:gd name="T10" fmla="*/ 2147483647 w 61"/>
                    <a:gd name="T11" fmla="*/ 2147483647 h 35"/>
                    <a:gd name="T12" fmla="*/ 2147483647 w 61"/>
                    <a:gd name="T13" fmla="*/ 0 h 3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35"/>
                    <a:gd name="T23" fmla="*/ 61 w 61"/>
                    <a:gd name="T24" fmla="*/ 35 h 3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35">
                      <a:moveTo>
                        <a:pt x="61" y="0"/>
                      </a:moveTo>
                      <a:lnTo>
                        <a:pt x="53" y="0"/>
                      </a:lnTo>
                      <a:lnTo>
                        <a:pt x="26" y="9"/>
                      </a:lnTo>
                      <a:lnTo>
                        <a:pt x="0" y="27"/>
                      </a:lnTo>
                      <a:lnTo>
                        <a:pt x="9" y="35"/>
                      </a:lnTo>
                      <a:lnTo>
                        <a:pt x="44" y="18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0" name="Freeform 416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1" name="Freeform 417"/>
                <p:cNvSpPr>
                  <a:spLocks/>
                </p:cNvSpPr>
                <p:nvPr/>
              </p:nvSpPr>
              <p:spPr bwMode="auto">
                <a:xfrm>
                  <a:off x="6472463" y="2940666"/>
                  <a:ext cx="27853" cy="18205"/>
                </a:xfrm>
                <a:custGeom>
                  <a:avLst/>
                  <a:gdLst>
                    <a:gd name="T0" fmla="*/ 2147483647 w 26"/>
                    <a:gd name="T1" fmla="*/ 2147483647 h 17"/>
                    <a:gd name="T2" fmla="*/ 2147483647 w 26"/>
                    <a:gd name="T3" fmla="*/ 2147483647 h 17"/>
                    <a:gd name="T4" fmla="*/ 2147483647 w 26"/>
                    <a:gd name="T5" fmla="*/ 0 h 17"/>
                    <a:gd name="T6" fmla="*/ 0 w 26"/>
                    <a:gd name="T7" fmla="*/ 2147483647 h 17"/>
                    <a:gd name="T8" fmla="*/ 2147483647 w 26"/>
                    <a:gd name="T9" fmla="*/ 2147483647 h 17"/>
                    <a:gd name="T10" fmla="*/ 2147483647 w 26"/>
                    <a:gd name="T11" fmla="*/ 2147483647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7"/>
                    <a:gd name="T20" fmla="*/ 26 w 26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7">
                      <a:moveTo>
                        <a:pt x="26" y="17"/>
                      </a:moveTo>
                      <a:lnTo>
                        <a:pt x="26" y="8"/>
                      </a:ln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7"/>
                      </a:lnTo>
                      <a:lnTo>
                        <a:pt x="26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2" name="Freeform 418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3" name="Freeform 419"/>
                <p:cNvSpPr>
                  <a:spLocks/>
                </p:cNvSpPr>
                <p:nvPr/>
              </p:nvSpPr>
              <p:spPr bwMode="auto">
                <a:xfrm>
                  <a:off x="6509958" y="2940666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0 w 18"/>
                    <a:gd name="T3" fmla="*/ 0 h 17"/>
                    <a:gd name="T4" fmla="*/ 2147483647 w 18"/>
                    <a:gd name="T5" fmla="*/ 2147483647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4" name="Freeform 420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5" name="Freeform 421"/>
                <p:cNvSpPr>
                  <a:spLocks/>
                </p:cNvSpPr>
                <p:nvPr/>
              </p:nvSpPr>
              <p:spPr bwMode="auto">
                <a:xfrm>
                  <a:off x="6519600" y="2986712"/>
                  <a:ext cx="18212" cy="19276"/>
                </a:xfrm>
                <a:custGeom>
                  <a:avLst/>
                  <a:gdLst>
                    <a:gd name="T0" fmla="*/ 2147483647 w 17"/>
                    <a:gd name="T1" fmla="*/ 0 h 18"/>
                    <a:gd name="T2" fmla="*/ 0 w 17"/>
                    <a:gd name="T3" fmla="*/ 0 h 18"/>
                    <a:gd name="T4" fmla="*/ 2147483647 w 17"/>
                    <a:gd name="T5" fmla="*/ 2147483647 h 18"/>
                    <a:gd name="T6" fmla="*/ 2147483647 w 1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0"/>
                      </a:moveTo>
                      <a:lnTo>
                        <a:pt x="0" y="0"/>
                      </a:lnTo>
                      <a:lnTo>
                        <a:pt x="9" y="1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6" name="Freeform 422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7" name="Freeform 423"/>
                <p:cNvSpPr>
                  <a:spLocks/>
                </p:cNvSpPr>
                <p:nvPr/>
              </p:nvSpPr>
              <p:spPr bwMode="auto">
                <a:xfrm>
                  <a:off x="6565665" y="2940666"/>
                  <a:ext cx="9642" cy="8567"/>
                </a:xfrm>
                <a:custGeom>
                  <a:avLst/>
                  <a:gdLst>
                    <a:gd name="T0" fmla="*/ 0 w 9"/>
                    <a:gd name="T1" fmla="*/ 2147483647 h 8"/>
                    <a:gd name="T2" fmla="*/ 2147483647 w 9"/>
                    <a:gd name="T3" fmla="*/ 0 h 8"/>
                    <a:gd name="T4" fmla="*/ 0 w 9"/>
                    <a:gd name="T5" fmla="*/ 0 h 8"/>
                    <a:gd name="T6" fmla="*/ 0 w 9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8"/>
                    <a:gd name="T14" fmla="*/ 9 w 9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8">
                      <a:moveTo>
                        <a:pt x="0" y="8"/>
                      </a:move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8" name="Freeform 424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19" name="Freeform 425"/>
                <p:cNvSpPr>
                  <a:spLocks/>
                </p:cNvSpPr>
                <p:nvPr/>
              </p:nvSpPr>
              <p:spPr bwMode="auto">
                <a:xfrm>
                  <a:off x="6678150" y="2921390"/>
                  <a:ext cx="18212" cy="19276"/>
                </a:xfrm>
                <a:custGeom>
                  <a:avLst/>
                  <a:gdLst>
                    <a:gd name="T0" fmla="*/ 0 w 17"/>
                    <a:gd name="T1" fmla="*/ 2147483647 h 18"/>
                    <a:gd name="T2" fmla="*/ 2147483647 w 17"/>
                    <a:gd name="T3" fmla="*/ 2147483647 h 18"/>
                    <a:gd name="T4" fmla="*/ 2147483647 w 17"/>
                    <a:gd name="T5" fmla="*/ 0 h 18"/>
                    <a:gd name="T6" fmla="*/ 2147483647 w 17"/>
                    <a:gd name="T7" fmla="*/ 0 h 18"/>
                    <a:gd name="T8" fmla="*/ 0 w 17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18"/>
                    <a:gd name="T17" fmla="*/ 17 w 1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18">
                      <a:moveTo>
                        <a:pt x="0" y="18"/>
                      </a:moveTo>
                      <a:lnTo>
                        <a:pt x="1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0" name="Freeform 426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1" name="Freeform 427"/>
                <p:cNvSpPr>
                  <a:spLocks/>
                </p:cNvSpPr>
                <p:nvPr/>
              </p:nvSpPr>
              <p:spPr bwMode="auto">
                <a:xfrm>
                  <a:off x="6733857" y="2883909"/>
                  <a:ext cx="28925" cy="37481"/>
                </a:xfrm>
                <a:custGeom>
                  <a:avLst/>
                  <a:gdLst>
                    <a:gd name="T0" fmla="*/ 2147483647 w 27"/>
                    <a:gd name="T1" fmla="*/ 2147483647 h 35"/>
                    <a:gd name="T2" fmla="*/ 2147483647 w 27"/>
                    <a:gd name="T3" fmla="*/ 2147483647 h 35"/>
                    <a:gd name="T4" fmla="*/ 2147483647 w 27"/>
                    <a:gd name="T5" fmla="*/ 2147483647 h 35"/>
                    <a:gd name="T6" fmla="*/ 2147483647 w 27"/>
                    <a:gd name="T7" fmla="*/ 0 h 35"/>
                    <a:gd name="T8" fmla="*/ 0 w 27"/>
                    <a:gd name="T9" fmla="*/ 2147483647 h 35"/>
                    <a:gd name="T10" fmla="*/ 2147483647 w 2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35"/>
                    <a:gd name="T20" fmla="*/ 27 w 2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35">
                      <a:moveTo>
                        <a:pt x="9" y="35"/>
                      </a:moveTo>
                      <a:lnTo>
                        <a:pt x="9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lnTo>
                        <a:pt x="0" y="18"/>
                      </a:lnTo>
                      <a:lnTo>
                        <a:pt x="9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2" name="Freeform 428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3" name="Freeform 429"/>
                <p:cNvSpPr>
                  <a:spLocks/>
                </p:cNvSpPr>
                <p:nvPr/>
              </p:nvSpPr>
              <p:spPr bwMode="auto">
                <a:xfrm>
                  <a:off x="6276417" y="2697579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2147483647 w 175"/>
                    <a:gd name="T7" fmla="*/ 2147483647 h 148"/>
                    <a:gd name="T8" fmla="*/ 2147483647 w 175"/>
                    <a:gd name="T9" fmla="*/ 0 h 148"/>
                    <a:gd name="T10" fmla="*/ 2147483647 w 175"/>
                    <a:gd name="T11" fmla="*/ 2147483647 h 148"/>
                    <a:gd name="T12" fmla="*/ 2147483647 w 175"/>
                    <a:gd name="T13" fmla="*/ 2147483647 h 148"/>
                    <a:gd name="T14" fmla="*/ 2147483647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0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2147483647 w 175"/>
                    <a:gd name="T51" fmla="*/ 2147483647 h 148"/>
                    <a:gd name="T52" fmla="*/ 2147483647 w 175"/>
                    <a:gd name="T53" fmla="*/ 2147483647 h 148"/>
                    <a:gd name="T54" fmla="*/ 2147483647 w 175"/>
                    <a:gd name="T55" fmla="*/ 2147483647 h 148"/>
                    <a:gd name="T56" fmla="*/ 2147483647 w 175"/>
                    <a:gd name="T57" fmla="*/ 2147483647 h 1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5"/>
                    <a:gd name="T88" fmla="*/ 0 h 148"/>
                    <a:gd name="T89" fmla="*/ 175 w 175"/>
                    <a:gd name="T90" fmla="*/ 148 h 14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5" h="148">
                      <a:moveTo>
                        <a:pt x="157" y="26"/>
                      </a:moveTo>
                      <a:lnTo>
                        <a:pt x="157" y="18"/>
                      </a:lnTo>
                      <a:lnTo>
                        <a:pt x="148" y="18"/>
                      </a:lnTo>
                      <a:lnTo>
                        <a:pt x="157" y="9"/>
                      </a:lnTo>
                      <a:lnTo>
                        <a:pt x="148" y="0"/>
                      </a:lnTo>
                      <a:lnTo>
                        <a:pt x="131" y="18"/>
                      </a:lnTo>
                      <a:lnTo>
                        <a:pt x="113" y="44"/>
                      </a:lnTo>
                      <a:lnTo>
                        <a:pt x="96" y="61"/>
                      </a:lnTo>
                      <a:lnTo>
                        <a:pt x="79" y="52"/>
                      </a:lnTo>
                      <a:lnTo>
                        <a:pt x="61" y="61"/>
                      </a:lnTo>
                      <a:lnTo>
                        <a:pt x="35" y="70"/>
                      </a:lnTo>
                      <a:lnTo>
                        <a:pt x="26" y="44"/>
                      </a:lnTo>
                      <a:lnTo>
                        <a:pt x="18" y="44"/>
                      </a:lnTo>
                      <a:lnTo>
                        <a:pt x="0" y="70"/>
                      </a:lnTo>
                      <a:lnTo>
                        <a:pt x="26" y="96"/>
                      </a:lnTo>
                      <a:lnTo>
                        <a:pt x="35" y="131"/>
                      </a:lnTo>
                      <a:lnTo>
                        <a:pt x="52" y="131"/>
                      </a:lnTo>
                      <a:lnTo>
                        <a:pt x="70" y="148"/>
                      </a:lnTo>
                      <a:lnTo>
                        <a:pt x="79" y="131"/>
                      </a:lnTo>
                      <a:lnTo>
                        <a:pt x="105" y="131"/>
                      </a:lnTo>
                      <a:lnTo>
                        <a:pt x="105" y="148"/>
                      </a:lnTo>
                      <a:lnTo>
                        <a:pt x="113" y="148"/>
                      </a:lnTo>
                      <a:lnTo>
                        <a:pt x="131" y="140"/>
                      </a:lnTo>
                      <a:lnTo>
                        <a:pt x="131" y="96"/>
                      </a:lnTo>
                      <a:lnTo>
                        <a:pt x="157" y="87"/>
                      </a:lnTo>
                      <a:lnTo>
                        <a:pt x="148" y="79"/>
                      </a:lnTo>
                      <a:lnTo>
                        <a:pt x="166" y="61"/>
                      </a:lnTo>
                      <a:lnTo>
                        <a:pt x="175" y="61"/>
                      </a:lnTo>
                      <a:lnTo>
                        <a:pt x="157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4" name="Freeform 430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5" name="Freeform 431"/>
                <p:cNvSpPr>
                  <a:spLocks/>
                </p:cNvSpPr>
                <p:nvPr/>
              </p:nvSpPr>
              <p:spPr bwMode="auto">
                <a:xfrm>
                  <a:off x="6220710" y="2810020"/>
                  <a:ext cx="18212" cy="27842"/>
                </a:xfrm>
                <a:custGeom>
                  <a:avLst/>
                  <a:gdLst>
                    <a:gd name="T0" fmla="*/ 2147483647 w 17"/>
                    <a:gd name="T1" fmla="*/ 0 h 26"/>
                    <a:gd name="T2" fmla="*/ 0 w 17"/>
                    <a:gd name="T3" fmla="*/ 0 h 26"/>
                    <a:gd name="T4" fmla="*/ 2147483647 w 17"/>
                    <a:gd name="T5" fmla="*/ 2147483647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2147483647 w 17"/>
                    <a:gd name="T13" fmla="*/ 0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26"/>
                    <a:gd name="T23" fmla="*/ 17 w 17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26">
                      <a:moveTo>
                        <a:pt x="9" y="0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7" y="26"/>
                      </a:lnTo>
                      <a:lnTo>
                        <a:pt x="17" y="17"/>
                      </a:lnTo>
                      <a:lnTo>
                        <a:pt x="9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6" name="Freeform 432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7" name="Freeform 433"/>
                <p:cNvSpPr>
                  <a:spLocks/>
                </p:cNvSpPr>
                <p:nvPr/>
              </p:nvSpPr>
              <p:spPr bwMode="auto">
                <a:xfrm>
                  <a:off x="6258206" y="2828224"/>
                  <a:ext cx="18212" cy="9638"/>
                </a:xfrm>
                <a:custGeom>
                  <a:avLst/>
                  <a:gdLst>
                    <a:gd name="T0" fmla="*/ 2147483647 w 17"/>
                    <a:gd name="T1" fmla="*/ 0 h 9"/>
                    <a:gd name="T2" fmla="*/ 0 w 17"/>
                    <a:gd name="T3" fmla="*/ 0 h 9"/>
                    <a:gd name="T4" fmla="*/ 0 w 17"/>
                    <a:gd name="T5" fmla="*/ 2147483647 h 9"/>
                    <a:gd name="T6" fmla="*/ 2147483647 w 17"/>
                    <a:gd name="T7" fmla="*/ 2147483647 h 9"/>
                    <a:gd name="T8" fmla="*/ 2147483647 w 17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9"/>
                    <a:gd name="T17" fmla="*/ 17 w 1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9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8" name="Freeform 434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29" name="Freeform 435"/>
                <p:cNvSpPr>
                  <a:spLocks/>
                </p:cNvSpPr>
                <p:nvPr/>
              </p:nvSpPr>
              <p:spPr bwMode="auto">
                <a:xfrm>
                  <a:off x="6220710" y="2893547"/>
                  <a:ext cx="176763" cy="65323"/>
                </a:xfrm>
                <a:custGeom>
                  <a:avLst/>
                  <a:gdLst>
                    <a:gd name="T0" fmla="*/ 2147483647 w 165"/>
                    <a:gd name="T1" fmla="*/ 2147483647 h 61"/>
                    <a:gd name="T2" fmla="*/ 2147483647 w 165"/>
                    <a:gd name="T3" fmla="*/ 2147483647 h 61"/>
                    <a:gd name="T4" fmla="*/ 2147483647 w 165"/>
                    <a:gd name="T5" fmla="*/ 2147483647 h 61"/>
                    <a:gd name="T6" fmla="*/ 2147483647 w 165"/>
                    <a:gd name="T7" fmla="*/ 2147483647 h 61"/>
                    <a:gd name="T8" fmla="*/ 2147483647 w 165"/>
                    <a:gd name="T9" fmla="*/ 0 h 61"/>
                    <a:gd name="T10" fmla="*/ 2147483647 w 165"/>
                    <a:gd name="T11" fmla="*/ 2147483647 h 61"/>
                    <a:gd name="T12" fmla="*/ 0 w 165"/>
                    <a:gd name="T13" fmla="*/ 2147483647 h 61"/>
                    <a:gd name="T14" fmla="*/ 2147483647 w 165"/>
                    <a:gd name="T15" fmla="*/ 2147483647 h 61"/>
                    <a:gd name="T16" fmla="*/ 2147483647 w 165"/>
                    <a:gd name="T17" fmla="*/ 2147483647 h 61"/>
                    <a:gd name="T18" fmla="*/ 2147483647 w 165"/>
                    <a:gd name="T19" fmla="*/ 2147483647 h 61"/>
                    <a:gd name="T20" fmla="*/ 2147483647 w 165"/>
                    <a:gd name="T21" fmla="*/ 2147483647 h 61"/>
                    <a:gd name="T22" fmla="*/ 2147483647 w 165"/>
                    <a:gd name="T23" fmla="*/ 2147483647 h 61"/>
                    <a:gd name="T24" fmla="*/ 2147483647 w 165"/>
                    <a:gd name="T25" fmla="*/ 2147483647 h 61"/>
                    <a:gd name="T26" fmla="*/ 2147483647 w 165"/>
                    <a:gd name="T27" fmla="*/ 2147483647 h 61"/>
                    <a:gd name="T28" fmla="*/ 2147483647 w 165"/>
                    <a:gd name="T29" fmla="*/ 2147483647 h 61"/>
                    <a:gd name="T30" fmla="*/ 2147483647 w 165"/>
                    <a:gd name="T31" fmla="*/ 2147483647 h 61"/>
                    <a:gd name="T32" fmla="*/ 2147483647 w 165"/>
                    <a:gd name="T33" fmla="*/ 2147483647 h 61"/>
                    <a:gd name="T34" fmla="*/ 2147483647 w 165"/>
                    <a:gd name="T35" fmla="*/ 2147483647 h 61"/>
                    <a:gd name="T36" fmla="*/ 2147483647 w 165"/>
                    <a:gd name="T37" fmla="*/ 2147483647 h 61"/>
                    <a:gd name="T38" fmla="*/ 2147483647 w 165"/>
                    <a:gd name="T39" fmla="*/ 2147483647 h 61"/>
                    <a:gd name="T40" fmla="*/ 2147483647 w 165"/>
                    <a:gd name="T41" fmla="*/ 2147483647 h 61"/>
                    <a:gd name="T42" fmla="*/ 2147483647 w 165"/>
                    <a:gd name="T43" fmla="*/ 2147483647 h 61"/>
                    <a:gd name="T44" fmla="*/ 2147483647 w 165"/>
                    <a:gd name="T45" fmla="*/ 2147483647 h 61"/>
                    <a:gd name="T46" fmla="*/ 2147483647 w 165"/>
                    <a:gd name="T47" fmla="*/ 2147483647 h 6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61"/>
                    <a:gd name="T74" fmla="*/ 165 w 165"/>
                    <a:gd name="T75" fmla="*/ 61 h 6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61">
                      <a:moveTo>
                        <a:pt x="87" y="9"/>
                      </a:moveTo>
                      <a:lnTo>
                        <a:pt x="78" y="26"/>
                      </a:lnTo>
                      <a:lnTo>
                        <a:pt x="52" y="26"/>
                      </a:lnTo>
                      <a:lnTo>
                        <a:pt x="43" y="9"/>
                      </a:lnTo>
                      <a:lnTo>
                        <a:pt x="26" y="0"/>
                      </a:lnTo>
                      <a:lnTo>
                        <a:pt x="9" y="9"/>
                      </a:lnTo>
                      <a:lnTo>
                        <a:pt x="0" y="18"/>
                      </a:lnTo>
                      <a:lnTo>
                        <a:pt x="17" y="35"/>
                      </a:lnTo>
                      <a:lnTo>
                        <a:pt x="35" y="35"/>
                      </a:lnTo>
                      <a:lnTo>
                        <a:pt x="43" y="35"/>
                      </a:lnTo>
                      <a:lnTo>
                        <a:pt x="78" y="35"/>
                      </a:lnTo>
                      <a:lnTo>
                        <a:pt x="78" y="44"/>
                      </a:lnTo>
                      <a:lnTo>
                        <a:pt x="113" y="61"/>
                      </a:lnTo>
                      <a:lnTo>
                        <a:pt x="131" y="52"/>
                      </a:lnTo>
                      <a:lnTo>
                        <a:pt x="139" y="61"/>
                      </a:lnTo>
                      <a:lnTo>
                        <a:pt x="157" y="52"/>
                      </a:lnTo>
                      <a:lnTo>
                        <a:pt x="165" y="61"/>
                      </a:lnTo>
                      <a:lnTo>
                        <a:pt x="165" y="52"/>
                      </a:lnTo>
                      <a:lnTo>
                        <a:pt x="165" y="35"/>
                      </a:lnTo>
                      <a:lnTo>
                        <a:pt x="157" y="44"/>
                      </a:lnTo>
                      <a:lnTo>
                        <a:pt x="139" y="35"/>
                      </a:lnTo>
                      <a:lnTo>
                        <a:pt x="131" y="35"/>
                      </a:lnTo>
                      <a:lnTo>
                        <a:pt x="104" y="9"/>
                      </a:lnTo>
                      <a:lnTo>
                        <a:pt x="8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0" name="Freeform 436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1" name="Freeform 437"/>
                <p:cNvSpPr>
                  <a:spLocks/>
                </p:cNvSpPr>
                <p:nvPr/>
              </p:nvSpPr>
              <p:spPr bwMode="auto">
                <a:xfrm>
                  <a:off x="6434968" y="2940666"/>
                  <a:ext cx="28925" cy="18205"/>
                </a:xfrm>
                <a:custGeom>
                  <a:avLst/>
                  <a:gdLst>
                    <a:gd name="T0" fmla="*/ 2147483647 w 27"/>
                    <a:gd name="T1" fmla="*/ 0 h 17"/>
                    <a:gd name="T2" fmla="*/ 0 w 27"/>
                    <a:gd name="T3" fmla="*/ 2147483647 h 17"/>
                    <a:gd name="T4" fmla="*/ 2147483647 w 27"/>
                    <a:gd name="T5" fmla="*/ 2147483647 h 17"/>
                    <a:gd name="T6" fmla="*/ 2147483647 w 2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7"/>
                    <a:gd name="T14" fmla="*/ 27 w 2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7">
                      <a:moveTo>
                        <a:pt x="9" y="0"/>
                      </a:moveTo>
                      <a:lnTo>
                        <a:pt x="0" y="17"/>
                      </a:lnTo>
                      <a:lnTo>
                        <a:pt x="27" y="17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2" name="Freeform 438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3" name="Freeform 439"/>
                <p:cNvSpPr>
                  <a:spLocks/>
                </p:cNvSpPr>
                <p:nvPr/>
              </p:nvSpPr>
              <p:spPr bwMode="auto">
                <a:xfrm>
                  <a:off x="6407114" y="2949232"/>
                  <a:ext cx="27853" cy="9638"/>
                </a:xfrm>
                <a:custGeom>
                  <a:avLst/>
                  <a:gdLst>
                    <a:gd name="T0" fmla="*/ 2147483647 w 26"/>
                    <a:gd name="T1" fmla="*/ 2147483647 h 9"/>
                    <a:gd name="T2" fmla="*/ 2147483647 w 26"/>
                    <a:gd name="T3" fmla="*/ 0 h 9"/>
                    <a:gd name="T4" fmla="*/ 0 w 26"/>
                    <a:gd name="T5" fmla="*/ 0 h 9"/>
                    <a:gd name="T6" fmla="*/ 0 w 26"/>
                    <a:gd name="T7" fmla="*/ 2147483647 h 9"/>
                    <a:gd name="T8" fmla="*/ 2147483647 w 26"/>
                    <a:gd name="T9" fmla="*/ 2147483647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9"/>
                    <a:gd name="T17" fmla="*/ 26 w 26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9">
                      <a:moveTo>
                        <a:pt x="9" y="9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9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4" name="Freeform 440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5" name="Freeform 441"/>
                <p:cNvSpPr>
                  <a:spLocks/>
                </p:cNvSpPr>
                <p:nvPr/>
              </p:nvSpPr>
              <p:spPr bwMode="auto">
                <a:xfrm>
                  <a:off x="6454251" y="2958870"/>
                  <a:ext cx="37495" cy="19276"/>
                </a:xfrm>
                <a:custGeom>
                  <a:avLst/>
                  <a:gdLst>
                    <a:gd name="T0" fmla="*/ 2147483647 w 35"/>
                    <a:gd name="T1" fmla="*/ 2147483647 h 18"/>
                    <a:gd name="T2" fmla="*/ 2147483647 w 35"/>
                    <a:gd name="T3" fmla="*/ 0 h 18"/>
                    <a:gd name="T4" fmla="*/ 0 w 35"/>
                    <a:gd name="T5" fmla="*/ 2147483647 h 18"/>
                    <a:gd name="T6" fmla="*/ 2147483647 w 35"/>
                    <a:gd name="T7" fmla="*/ 2147483647 h 18"/>
                    <a:gd name="T8" fmla="*/ 2147483647 w 35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8"/>
                    <a:gd name="T17" fmla="*/ 35 w 35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8">
                      <a:moveTo>
                        <a:pt x="35" y="9"/>
                      </a:moveTo>
                      <a:lnTo>
                        <a:pt x="17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6" name="Freeform 442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7" name="Freeform 443"/>
                <p:cNvSpPr>
                  <a:spLocks/>
                </p:cNvSpPr>
                <p:nvPr/>
              </p:nvSpPr>
              <p:spPr bwMode="auto">
                <a:xfrm>
                  <a:off x="6042877" y="2725421"/>
                  <a:ext cx="27853" cy="19276"/>
                </a:xfrm>
                <a:custGeom>
                  <a:avLst/>
                  <a:gdLst>
                    <a:gd name="T0" fmla="*/ 2147483647 w 26"/>
                    <a:gd name="T1" fmla="*/ 2147483647 h 18"/>
                    <a:gd name="T2" fmla="*/ 2147483647 w 26"/>
                    <a:gd name="T3" fmla="*/ 0 h 18"/>
                    <a:gd name="T4" fmla="*/ 0 w 26"/>
                    <a:gd name="T5" fmla="*/ 0 h 18"/>
                    <a:gd name="T6" fmla="*/ 2147483647 w 26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18"/>
                    <a:gd name="T14" fmla="*/ 26 w 26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18">
                      <a:moveTo>
                        <a:pt x="18" y="18"/>
                      </a:move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1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8" name="Freeform 444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39" name="Freeform 445"/>
                <p:cNvSpPr>
                  <a:spLocks/>
                </p:cNvSpPr>
                <p:nvPr/>
              </p:nvSpPr>
              <p:spPr bwMode="auto">
                <a:xfrm>
                  <a:off x="6098584" y="2800382"/>
                  <a:ext cx="19283" cy="27842"/>
                </a:xfrm>
                <a:custGeom>
                  <a:avLst/>
                  <a:gdLst>
                    <a:gd name="T0" fmla="*/ 0 w 18"/>
                    <a:gd name="T1" fmla="*/ 0 h 26"/>
                    <a:gd name="T2" fmla="*/ 0 w 18"/>
                    <a:gd name="T3" fmla="*/ 0 h 26"/>
                    <a:gd name="T4" fmla="*/ 2147483647 w 18"/>
                    <a:gd name="T5" fmla="*/ 2147483647 h 26"/>
                    <a:gd name="T6" fmla="*/ 2147483647 w 18"/>
                    <a:gd name="T7" fmla="*/ 2147483647 h 26"/>
                    <a:gd name="T8" fmla="*/ 0 w 18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6"/>
                    <a:gd name="T17" fmla="*/ 18 w 1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26"/>
                      </a:lnTo>
                      <a:lnTo>
                        <a:pt x="18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0" name="Freeform 446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1" name="Freeform 447"/>
                <p:cNvSpPr>
                  <a:spLocks/>
                </p:cNvSpPr>
                <p:nvPr/>
              </p:nvSpPr>
              <p:spPr bwMode="auto">
                <a:xfrm>
                  <a:off x="6304271" y="2632256"/>
                  <a:ext cx="159622" cy="140284"/>
                </a:xfrm>
                <a:custGeom>
                  <a:avLst/>
                  <a:gdLst>
                    <a:gd name="T0" fmla="*/ 2147483647 w 149"/>
                    <a:gd name="T1" fmla="*/ 0 h 131"/>
                    <a:gd name="T2" fmla="*/ 2147483647 w 149"/>
                    <a:gd name="T3" fmla="*/ 2147483647 h 131"/>
                    <a:gd name="T4" fmla="*/ 2147483647 w 149"/>
                    <a:gd name="T5" fmla="*/ 2147483647 h 131"/>
                    <a:gd name="T6" fmla="*/ 2147483647 w 149"/>
                    <a:gd name="T7" fmla="*/ 2147483647 h 131"/>
                    <a:gd name="T8" fmla="*/ 2147483647 w 149"/>
                    <a:gd name="T9" fmla="*/ 2147483647 h 131"/>
                    <a:gd name="T10" fmla="*/ 2147483647 w 149"/>
                    <a:gd name="T11" fmla="*/ 2147483647 h 131"/>
                    <a:gd name="T12" fmla="*/ 2147483647 w 149"/>
                    <a:gd name="T13" fmla="*/ 2147483647 h 131"/>
                    <a:gd name="T14" fmla="*/ 2147483647 w 149"/>
                    <a:gd name="T15" fmla="*/ 2147483647 h 131"/>
                    <a:gd name="T16" fmla="*/ 2147483647 w 149"/>
                    <a:gd name="T17" fmla="*/ 2147483647 h 131"/>
                    <a:gd name="T18" fmla="*/ 0 w 149"/>
                    <a:gd name="T19" fmla="*/ 2147483647 h 131"/>
                    <a:gd name="T20" fmla="*/ 2147483647 w 149"/>
                    <a:gd name="T21" fmla="*/ 2147483647 h 131"/>
                    <a:gd name="T22" fmla="*/ 2147483647 w 149"/>
                    <a:gd name="T23" fmla="*/ 2147483647 h 131"/>
                    <a:gd name="T24" fmla="*/ 2147483647 w 149"/>
                    <a:gd name="T25" fmla="*/ 2147483647 h 131"/>
                    <a:gd name="T26" fmla="*/ 2147483647 w 149"/>
                    <a:gd name="T27" fmla="*/ 2147483647 h 131"/>
                    <a:gd name="T28" fmla="*/ 2147483647 w 149"/>
                    <a:gd name="T29" fmla="*/ 2147483647 h 131"/>
                    <a:gd name="T30" fmla="*/ 2147483647 w 149"/>
                    <a:gd name="T31" fmla="*/ 2147483647 h 131"/>
                    <a:gd name="T32" fmla="*/ 2147483647 w 149"/>
                    <a:gd name="T33" fmla="*/ 2147483647 h 131"/>
                    <a:gd name="T34" fmla="*/ 2147483647 w 149"/>
                    <a:gd name="T35" fmla="*/ 2147483647 h 131"/>
                    <a:gd name="T36" fmla="*/ 2147483647 w 149"/>
                    <a:gd name="T37" fmla="*/ 2147483647 h 131"/>
                    <a:gd name="T38" fmla="*/ 2147483647 w 149"/>
                    <a:gd name="T39" fmla="*/ 0 h 13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9"/>
                    <a:gd name="T61" fmla="*/ 0 h 131"/>
                    <a:gd name="T62" fmla="*/ 149 w 149"/>
                    <a:gd name="T63" fmla="*/ 131 h 13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9" h="131">
                      <a:moveTo>
                        <a:pt x="122" y="0"/>
                      </a:moveTo>
                      <a:lnTo>
                        <a:pt x="87" y="44"/>
                      </a:lnTo>
                      <a:lnTo>
                        <a:pt x="96" y="61"/>
                      </a:lnTo>
                      <a:lnTo>
                        <a:pt x="79" y="70"/>
                      </a:lnTo>
                      <a:lnTo>
                        <a:pt x="61" y="52"/>
                      </a:lnTo>
                      <a:lnTo>
                        <a:pt x="61" y="70"/>
                      </a:lnTo>
                      <a:lnTo>
                        <a:pt x="26" y="87"/>
                      </a:lnTo>
                      <a:lnTo>
                        <a:pt x="18" y="96"/>
                      </a:lnTo>
                      <a:lnTo>
                        <a:pt x="18" y="105"/>
                      </a:lnTo>
                      <a:lnTo>
                        <a:pt x="0" y="105"/>
                      </a:lnTo>
                      <a:lnTo>
                        <a:pt x="9" y="131"/>
                      </a:lnTo>
                      <a:lnTo>
                        <a:pt x="35" y="122"/>
                      </a:lnTo>
                      <a:lnTo>
                        <a:pt x="53" y="113"/>
                      </a:lnTo>
                      <a:lnTo>
                        <a:pt x="70" y="122"/>
                      </a:lnTo>
                      <a:lnTo>
                        <a:pt x="87" y="105"/>
                      </a:lnTo>
                      <a:lnTo>
                        <a:pt x="105" y="79"/>
                      </a:lnTo>
                      <a:lnTo>
                        <a:pt x="122" y="61"/>
                      </a:lnTo>
                      <a:lnTo>
                        <a:pt x="131" y="70"/>
                      </a:lnTo>
                      <a:lnTo>
                        <a:pt x="149" y="44"/>
                      </a:lnTo>
                      <a:lnTo>
                        <a:pt x="122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2" name="Freeform 448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3" name="Freeform 449"/>
                <p:cNvSpPr>
                  <a:spLocks/>
                </p:cNvSpPr>
                <p:nvPr/>
              </p:nvSpPr>
              <p:spPr bwMode="auto">
                <a:xfrm>
                  <a:off x="6463893" y="2418083"/>
                  <a:ext cx="83560" cy="121008"/>
                </a:xfrm>
                <a:custGeom>
                  <a:avLst/>
                  <a:gdLst>
                    <a:gd name="T0" fmla="*/ 2147483647 w 78"/>
                    <a:gd name="T1" fmla="*/ 0 h 113"/>
                    <a:gd name="T2" fmla="*/ 0 w 78"/>
                    <a:gd name="T3" fmla="*/ 0 h 113"/>
                    <a:gd name="T4" fmla="*/ 2147483647 w 78"/>
                    <a:gd name="T5" fmla="*/ 2147483647 h 113"/>
                    <a:gd name="T6" fmla="*/ 0 w 78"/>
                    <a:gd name="T7" fmla="*/ 2147483647 h 113"/>
                    <a:gd name="T8" fmla="*/ 0 w 78"/>
                    <a:gd name="T9" fmla="*/ 2147483647 h 113"/>
                    <a:gd name="T10" fmla="*/ 2147483647 w 78"/>
                    <a:gd name="T11" fmla="*/ 2147483647 h 113"/>
                    <a:gd name="T12" fmla="*/ 2147483647 w 78"/>
                    <a:gd name="T13" fmla="*/ 2147483647 h 113"/>
                    <a:gd name="T14" fmla="*/ 2147483647 w 78"/>
                    <a:gd name="T15" fmla="*/ 2147483647 h 113"/>
                    <a:gd name="T16" fmla="*/ 2147483647 w 78"/>
                    <a:gd name="T17" fmla="*/ 2147483647 h 113"/>
                    <a:gd name="T18" fmla="*/ 2147483647 w 78"/>
                    <a:gd name="T19" fmla="*/ 2147483647 h 113"/>
                    <a:gd name="T20" fmla="*/ 2147483647 w 78"/>
                    <a:gd name="T21" fmla="*/ 2147483647 h 113"/>
                    <a:gd name="T22" fmla="*/ 2147483647 w 78"/>
                    <a:gd name="T23" fmla="*/ 2147483647 h 113"/>
                    <a:gd name="T24" fmla="*/ 2147483647 w 78"/>
                    <a:gd name="T25" fmla="*/ 2147483647 h 113"/>
                    <a:gd name="T26" fmla="*/ 2147483647 w 78"/>
                    <a:gd name="T27" fmla="*/ 2147483647 h 113"/>
                    <a:gd name="T28" fmla="*/ 2147483647 w 78"/>
                    <a:gd name="T29" fmla="*/ 2147483647 h 113"/>
                    <a:gd name="T30" fmla="*/ 2147483647 w 78"/>
                    <a:gd name="T31" fmla="*/ 2147483647 h 113"/>
                    <a:gd name="T32" fmla="*/ 2147483647 w 78"/>
                    <a:gd name="T33" fmla="*/ 2147483647 h 113"/>
                    <a:gd name="T34" fmla="*/ 2147483647 w 78"/>
                    <a:gd name="T35" fmla="*/ 2147483647 h 113"/>
                    <a:gd name="T36" fmla="*/ 2147483647 w 78"/>
                    <a:gd name="T37" fmla="*/ 2147483647 h 113"/>
                    <a:gd name="T38" fmla="*/ 2147483647 w 78"/>
                    <a:gd name="T39" fmla="*/ 2147483647 h 113"/>
                    <a:gd name="T40" fmla="*/ 2147483647 w 78"/>
                    <a:gd name="T41" fmla="*/ 2147483647 h 113"/>
                    <a:gd name="T42" fmla="*/ 2147483647 w 78"/>
                    <a:gd name="T43" fmla="*/ 2147483647 h 113"/>
                    <a:gd name="T44" fmla="*/ 2147483647 w 78"/>
                    <a:gd name="T45" fmla="*/ 2147483647 h 113"/>
                    <a:gd name="T46" fmla="*/ 2147483647 w 78"/>
                    <a:gd name="T47" fmla="*/ 2147483647 h 113"/>
                    <a:gd name="T48" fmla="*/ 2147483647 w 78"/>
                    <a:gd name="T49" fmla="*/ 2147483647 h 113"/>
                    <a:gd name="T50" fmla="*/ 2147483647 w 78"/>
                    <a:gd name="T51" fmla="*/ 0 h 113"/>
                    <a:gd name="T52" fmla="*/ 2147483647 w 78"/>
                    <a:gd name="T53" fmla="*/ 2147483647 h 113"/>
                    <a:gd name="T54" fmla="*/ 2147483647 w 78"/>
                    <a:gd name="T55" fmla="*/ 0 h 11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78"/>
                    <a:gd name="T85" fmla="*/ 0 h 113"/>
                    <a:gd name="T86" fmla="*/ 78 w 78"/>
                    <a:gd name="T87" fmla="*/ 113 h 11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78" h="113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35"/>
                      </a:lnTo>
                      <a:lnTo>
                        <a:pt x="0" y="43"/>
                      </a:lnTo>
                      <a:lnTo>
                        <a:pt x="0" y="61"/>
                      </a:lnTo>
                      <a:lnTo>
                        <a:pt x="17" y="78"/>
                      </a:lnTo>
                      <a:lnTo>
                        <a:pt x="8" y="78"/>
                      </a:lnTo>
                      <a:lnTo>
                        <a:pt x="26" y="87"/>
                      </a:lnTo>
                      <a:lnTo>
                        <a:pt x="34" y="87"/>
                      </a:lnTo>
                      <a:lnTo>
                        <a:pt x="34" y="104"/>
                      </a:lnTo>
                      <a:lnTo>
                        <a:pt x="52" y="104"/>
                      </a:lnTo>
                      <a:lnTo>
                        <a:pt x="61" y="104"/>
                      </a:lnTo>
                      <a:lnTo>
                        <a:pt x="69" y="104"/>
                      </a:lnTo>
                      <a:lnTo>
                        <a:pt x="78" y="113"/>
                      </a:lnTo>
                      <a:lnTo>
                        <a:pt x="78" y="104"/>
                      </a:lnTo>
                      <a:lnTo>
                        <a:pt x="61" y="96"/>
                      </a:lnTo>
                      <a:lnTo>
                        <a:pt x="61" y="87"/>
                      </a:lnTo>
                      <a:lnTo>
                        <a:pt x="52" y="78"/>
                      </a:lnTo>
                      <a:lnTo>
                        <a:pt x="34" y="78"/>
                      </a:lnTo>
                      <a:lnTo>
                        <a:pt x="34" y="69"/>
                      </a:lnTo>
                      <a:lnTo>
                        <a:pt x="26" y="69"/>
                      </a:lnTo>
                      <a:lnTo>
                        <a:pt x="26" y="43"/>
                      </a:lnTo>
                      <a:lnTo>
                        <a:pt x="34" y="35"/>
                      </a:lnTo>
                      <a:lnTo>
                        <a:pt x="26" y="0"/>
                      </a:lnTo>
                      <a:lnTo>
                        <a:pt x="17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4" name="Freeform 450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5" name="Freeform 451"/>
                <p:cNvSpPr>
                  <a:spLocks/>
                </p:cNvSpPr>
                <p:nvPr/>
              </p:nvSpPr>
              <p:spPr bwMode="auto">
                <a:xfrm>
                  <a:off x="6434968" y="2557296"/>
                  <a:ext cx="37495" cy="65323"/>
                </a:xfrm>
                <a:custGeom>
                  <a:avLst/>
                  <a:gdLst>
                    <a:gd name="T0" fmla="*/ 2147483647 w 35"/>
                    <a:gd name="T1" fmla="*/ 2147483647 h 61"/>
                    <a:gd name="T2" fmla="*/ 2147483647 w 35"/>
                    <a:gd name="T3" fmla="*/ 0 h 61"/>
                    <a:gd name="T4" fmla="*/ 2147483647 w 35"/>
                    <a:gd name="T5" fmla="*/ 2147483647 h 61"/>
                    <a:gd name="T6" fmla="*/ 0 w 35"/>
                    <a:gd name="T7" fmla="*/ 2147483647 h 61"/>
                    <a:gd name="T8" fmla="*/ 0 w 35"/>
                    <a:gd name="T9" fmla="*/ 2147483647 h 61"/>
                    <a:gd name="T10" fmla="*/ 2147483647 w 35"/>
                    <a:gd name="T11" fmla="*/ 2147483647 h 61"/>
                    <a:gd name="T12" fmla="*/ 2147483647 w 35"/>
                    <a:gd name="T13" fmla="*/ 2147483647 h 6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61"/>
                    <a:gd name="T23" fmla="*/ 35 w 35"/>
                    <a:gd name="T24" fmla="*/ 61 h 6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61">
                      <a:moveTo>
                        <a:pt x="35" y="9"/>
                      </a:moveTo>
                      <a:lnTo>
                        <a:pt x="27" y="0"/>
                      </a:lnTo>
                      <a:lnTo>
                        <a:pt x="9" y="35"/>
                      </a:lnTo>
                      <a:lnTo>
                        <a:pt x="0" y="44"/>
                      </a:lnTo>
                      <a:lnTo>
                        <a:pt x="0" y="61"/>
                      </a:lnTo>
                      <a:lnTo>
                        <a:pt x="9" y="53"/>
                      </a:lnTo>
                      <a:lnTo>
                        <a:pt x="35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6" name="Freeform 452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7" name="Freeform 453"/>
                <p:cNvSpPr>
                  <a:spLocks/>
                </p:cNvSpPr>
                <p:nvPr/>
              </p:nvSpPr>
              <p:spPr bwMode="auto">
                <a:xfrm>
                  <a:off x="6472463" y="2520886"/>
                  <a:ext cx="27853" cy="27842"/>
                </a:xfrm>
                <a:custGeom>
                  <a:avLst/>
                  <a:gdLst>
                    <a:gd name="T0" fmla="*/ 2147483647 w 26"/>
                    <a:gd name="T1" fmla="*/ 2147483647 h 26"/>
                    <a:gd name="T2" fmla="*/ 0 w 26"/>
                    <a:gd name="T3" fmla="*/ 0 h 26"/>
                    <a:gd name="T4" fmla="*/ 2147483647 w 26"/>
                    <a:gd name="T5" fmla="*/ 2147483647 h 26"/>
                    <a:gd name="T6" fmla="*/ 2147483647 w 26"/>
                    <a:gd name="T7" fmla="*/ 2147483647 h 26"/>
                    <a:gd name="T8" fmla="*/ 2147483647 w 26"/>
                    <a:gd name="T9" fmla="*/ 2147483647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26"/>
                    <a:gd name="T17" fmla="*/ 26 w 26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26">
                      <a:moveTo>
                        <a:pt x="26" y="8"/>
                      </a:move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18" y="26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8" name="Freeform 454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49" name="Freeform 455"/>
                <p:cNvSpPr>
                  <a:spLocks/>
                </p:cNvSpPr>
                <p:nvPr/>
              </p:nvSpPr>
              <p:spPr bwMode="auto">
                <a:xfrm>
                  <a:off x="6519600" y="2566933"/>
                  <a:ext cx="18212" cy="37481"/>
                </a:xfrm>
                <a:custGeom>
                  <a:avLst/>
                  <a:gdLst>
                    <a:gd name="T0" fmla="*/ 2147483647 w 17"/>
                    <a:gd name="T1" fmla="*/ 2147483647 h 35"/>
                    <a:gd name="T2" fmla="*/ 2147483647 w 17"/>
                    <a:gd name="T3" fmla="*/ 0 h 35"/>
                    <a:gd name="T4" fmla="*/ 0 w 17"/>
                    <a:gd name="T5" fmla="*/ 2147483647 h 35"/>
                    <a:gd name="T6" fmla="*/ 2147483647 w 17"/>
                    <a:gd name="T7" fmla="*/ 2147483647 h 35"/>
                    <a:gd name="T8" fmla="*/ 2147483647 w 17"/>
                    <a:gd name="T9" fmla="*/ 2147483647 h 35"/>
                    <a:gd name="T10" fmla="*/ 2147483647 w 17"/>
                    <a:gd name="T11" fmla="*/ 2147483647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35"/>
                    <a:gd name="T20" fmla="*/ 17 w 17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35">
                      <a:moveTo>
                        <a:pt x="17" y="9"/>
                      </a:moveTo>
                      <a:lnTo>
                        <a:pt x="9" y="0"/>
                      </a:lnTo>
                      <a:lnTo>
                        <a:pt x="0" y="26"/>
                      </a:lnTo>
                      <a:lnTo>
                        <a:pt x="9" y="35"/>
                      </a:lnTo>
                      <a:lnTo>
                        <a:pt x="9" y="26"/>
                      </a:lnTo>
                      <a:lnTo>
                        <a:pt x="17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0" name="Freeform 456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1" name="Freeform 457"/>
                <p:cNvSpPr>
                  <a:spLocks/>
                </p:cNvSpPr>
                <p:nvPr/>
              </p:nvSpPr>
              <p:spPr bwMode="auto">
                <a:xfrm>
                  <a:off x="6500316" y="2557296"/>
                  <a:ext cx="28925" cy="19276"/>
                </a:xfrm>
                <a:custGeom>
                  <a:avLst/>
                  <a:gdLst>
                    <a:gd name="T0" fmla="*/ 2147483647 w 27"/>
                    <a:gd name="T1" fmla="*/ 2147483647 h 18"/>
                    <a:gd name="T2" fmla="*/ 2147483647 w 27"/>
                    <a:gd name="T3" fmla="*/ 2147483647 h 18"/>
                    <a:gd name="T4" fmla="*/ 2147483647 w 27"/>
                    <a:gd name="T5" fmla="*/ 0 h 18"/>
                    <a:gd name="T6" fmla="*/ 2147483647 w 27"/>
                    <a:gd name="T7" fmla="*/ 0 h 18"/>
                    <a:gd name="T8" fmla="*/ 0 w 27"/>
                    <a:gd name="T9" fmla="*/ 0 h 18"/>
                    <a:gd name="T10" fmla="*/ 2147483647 w 27"/>
                    <a:gd name="T11" fmla="*/ 2147483647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18"/>
                    <a:gd name="T20" fmla="*/ 27 w 2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18">
                      <a:moveTo>
                        <a:pt x="9" y="18"/>
                      </a:moveTo>
                      <a:lnTo>
                        <a:pt x="18" y="18"/>
                      </a:lnTo>
                      <a:lnTo>
                        <a:pt x="27" y="0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9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2" name="Freeform 458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3" name="Freeform 459"/>
                <p:cNvSpPr>
                  <a:spLocks/>
                </p:cNvSpPr>
                <p:nvPr/>
              </p:nvSpPr>
              <p:spPr bwMode="auto">
                <a:xfrm>
                  <a:off x="6500316" y="2539091"/>
                  <a:ext cx="19283" cy="18205"/>
                </a:xfrm>
                <a:custGeom>
                  <a:avLst/>
                  <a:gdLst>
                    <a:gd name="T0" fmla="*/ 2147483647 w 18"/>
                    <a:gd name="T1" fmla="*/ 2147483647 h 17"/>
                    <a:gd name="T2" fmla="*/ 2147483647 w 18"/>
                    <a:gd name="T3" fmla="*/ 0 h 17"/>
                    <a:gd name="T4" fmla="*/ 0 w 18"/>
                    <a:gd name="T5" fmla="*/ 0 h 17"/>
                    <a:gd name="T6" fmla="*/ 2147483647 w 18"/>
                    <a:gd name="T7" fmla="*/ 214748364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7"/>
                    <a:gd name="T14" fmla="*/ 18 w 18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7">
                      <a:moveTo>
                        <a:pt x="18" y="17"/>
                      </a:moveTo>
                      <a:lnTo>
                        <a:pt x="18" y="0"/>
                      </a:lnTo>
                      <a:lnTo>
                        <a:pt x="0" y="0"/>
                      </a:lnTo>
                      <a:lnTo>
                        <a:pt x="18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4" name="Freeform 460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5" name="Freeform 461"/>
                <p:cNvSpPr>
                  <a:spLocks/>
                </p:cNvSpPr>
                <p:nvPr/>
              </p:nvSpPr>
              <p:spPr bwMode="auto">
                <a:xfrm>
                  <a:off x="6529241" y="2539091"/>
                  <a:ext cx="18212" cy="18205"/>
                </a:xfrm>
                <a:custGeom>
                  <a:avLst/>
                  <a:gdLst>
                    <a:gd name="T0" fmla="*/ 2147483647 w 17"/>
                    <a:gd name="T1" fmla="*/ 0 h 17"/>
                    <a:gd name="T2" fmla="*/ 0 w 17"/>
                    <a:gd name="T3" fmla="*/ 2147483647 h 17"/>
                    <a:gd name="T4" fmla="*/ 2147483647 w 17"/>
                    <a:gd name="T5" fmla="*/ 2147483647 h 17"/>
                    <a:gd name="T6" fmla="*/ 2147483647 w 17"/>
                    <a:gd name="T7" fmla="*/ 0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7"/>
                    <a:gd name="T14" fmla="*/ 17 w 17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7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17" y="17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6" name="Freeform 462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7" name="Freeform 463"/>
                <p:cNvSpPr>
                  <a:spLocks/>
                </p:cNvSpPr>
                <p:nvPr/>
              </p:nvSpPr>
              <p:spPr bwMode="auto">
                <a:xfrm>
                  <a:off x="6547453" y="2557296"/>
                  <a:ext cx="18212" cy="19276"/>
                </a:xfrm>
                <a:custGeom>
                  <a:avLst/>
                  <a:gdLst>
                    <a:gd name="T0" fmla="*/ 2147483647 w 17"/>
                    <a:gd name="T1" fmla="*/ 2147483647 h 18"/>
                    <a:gd name="T2" fmla="*/ 2147483647 w 17"/>
                    <a:gd name="T3" fmla="*/ 0 h 18"/>
                    <a:gd name="T4" fmla="*/ 0 w 17"/>
                    <a:gd name="T5" fmla="*/ 2147483647 h 18"/>
                    <a:gd name="T6" fmla="*/ 2147483647 w 17"/>
                    <a:gd name="T7" fmla="*/ 214748364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8"/>
                    <a:gd name="T14" fmla="*/ 17 w 1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8">
                      <a:moveTo>
                        <a:pt x="17" y="18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17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8" name="Freeform 464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59" name="Freeform 465"/>
                <p:cNvSpPr>
                  <a:spLocks/>
                </p:cNvSpPr>
                <p:nvPr/>
              </p:nvSpPr>
              <p:spPr bwMode="auto">
                <a:xfrm>
                  <a:off x="6557094" y="2539091"/>
                  <a:ext cx="18212" cy="27842"/>
                </a:xfrm>
                <a:custGeom>
                  <a:avLst/>
                  <a:gdLst>
                    <a:gd name="T0" fmla="*/ 2147483647 w 17"/>
                    <a:gd name="T1" fmla="*/ 2147483647 h 26"/>
                    <a:gd name="T2" fmla="*/ 2147483647 w 17"/>
                    <a:gd name="T3" fmla="*/ 0 h 26"/>
                    <a:gd name="T4" fmla="*/ 0 w 17"/>
                    <a:gd name="T5" fmla="*/ 0 h 26"/>
                    <a:gd name="T6" fmla="*/ 2147483647 w 17"/>
                    <a:gd name="T7" fmla="*/ 2147483647 h 26"/>
                    <a:gd name="T8" fmla="*/ 2147483647 w 17"/>
                    <a:gd name="T9" fmla="*/ 2147483647 h 26"/>
                    <a:gd name="T10" fmla="*/ 2147483647 w 17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26"/>
                    <a:gd name="T20" fmla="*/ 17 w 1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26">
                      <a:moveTo>
                        <a:pt x="17" y="17"/>
                      </a:move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8" y="26"/>
                      </a:lnTo>
                      <a:lnTo>
                        <a:pt x="17" y="26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0" name="Freeform 466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1" name="Freeform 467"/>
                <p:cNvSpPr>
                  <a:spLocks/>
                </p:cNvSpPr>
                <p:nvPr/>
              </p:nvSpPr>
              <p:spPr bwMode="auto">
                <a:xfrm>
                  <a:off x="6500316" y="2586209"/>
                  <a:ext cx="102844" cy="83527"/>
                </a:xfrm>
                <a:custGeom>
                  <a:avLst/>
                  <a:gdLst>
                    <a:gd name="T0" fmla="*/ 2147483647 w 96"/>
                    <a:gd name="T1" fmla="*/ 2147483647 h 78"/>
                    <a:gd name="T2" fmla="*/ 2147483647 w 96"/>
                    <a:gd name="T3" fmla="*/ 2147483647 h 78"/>
                    <a:gd name="T4" fmla="*/ 2147483647 w 96"/>
                    <a:gd name="T5" fmla="*/ 2147483647 h 78"/>
                    <a:gd name="T6" fmla="*/ 2147483647 w 96"/>
                    <a:gd name="T7" fmla="*/ 2147483647 h 78"/>
                    <a:gd name="T8" fmla="*/ 2147483647 w 96"/>
                    <a:gd name="T9" fmla="*/ 2147483647 h 78"/>
                    <a:gd name="T10" fmla="*/ 0 w 96"/>
                    <a:gd name="T11" fmla="*/ 2147483647 h 78"/>
                    <a:gd name="T12" fmla="*/ 2147483647 w 96"/>
                    <a:gd name="T13" fmla="*/ 2147483647 h 78"/>
                    <a:gd name="T14" fmla="*/ 2147483647 w 96"/>
                    <a:gd name="T15" fmla="*/ 2147483647 h 78"/>
                    <a:gd name="T16" fmla="*/ 2147483647 w 96"/>
                    <a:gd name="T17" fmla="*/ 2147483647 h 78"/>
                    <a:gd name="T18" fmla="*/ 2147483647 w 96"/>
                    <a:gd name="T19" fmla="*/ 2147483647 h 78"/>
                    <a:gd name="T20" fmla="*/ 2147483647 w 96"/>
                    <a:gd name="T21" fmla="*/ 2147483647 h 78"/>
                    <a:gd name="T22" fmla="*/ 2147483647 w 96"/>
                    <a:gd name="T23" fmla="*/ 2147483647 h 78"/>
                    <a:gd name="T24" fmla="*/ 2147483647 w 96"/>
                    <a:gd name="T25" fmla="*/ 2147483647 h 78"/>
                    <a:gd name="T26" fmla="*/ 2147483647 w 96"/>
                    <a:gd name="T27" fmla="*/ 2147483647 h 78"/>
                    <a:gd name="T28" fmla="*/ 2147483647 w 96"/>
                    <a:gd name="T29" fmla="*/ 2147483647 h 78"/>
                    <a:gd name="T30" fmla="*/ 2147483647 w 96"/>
                    <a:gd name="T31" fmla="*/ 2147483647 h 78"/>
                    <a:gd name="T32" fmla="*/ 2147483647 w 96"/>
                    <a:gd name="T33" fmla="*/ 2147483647 h 78"/>
                    <a:gd name="T34" fmla="*/ 2147483647 w 96"/>
                    <a:gd name="T35" fmla="*/ 2147483647 h 78"/>
                    <a:gd name="T36" fmla="*/ 2147483647 w 96"/>
                    <a:gd name="T37" fmla="*/ 2147483647 h 78"/>
                    <a:gd name="T38" fmla="*/ 2147483647 w 96"/>
                    <a:gd name="T39" fmla="*/ 0 h 78"/>
                    <a:gd name="T40" fmla="*/ 2147483647 w 96"/>
                    <a:gd name="T41" fmla="*/ 2147483647 h 78"/>
                    <a:gd name="T42" fmla="*/ 2147483647 w 96"/>
                    <a:gd name="T43" fmla="*/ 2147483647 h 7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78"/>
                    <a:gd name="T68" fmla="*/ 96 w 96"/>
                    <a:gd name="T69" fmla="*/ 78 h 7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78">
                      <a:moveTo>
                        <a:pt x="53" y="26"/>
                      </a:moveTo>
                      <a:lnTo>
                        <a:pt x="44" y="26"/>
                      </a:lnTo>
                      <a:lnTo>
                        <a:pt x="35" y="26"/>
                      </a:lnTo>
                      <a:lnTo>
                        <a:pt x="18" y="34"/>
                      </a:lnTo>
                      <a:lnTo>
                        <a:pt x="18" y="52"/>
                      </a:lnTo>
                      <a:lnTo>
                        <a:pt x="0" y="61"/>
                      </a:lnTo>
                      <a:lnTo>
                        <a:pt x="18" y="69"/>
                      </a:lnTo>
                      <a:lnTo>
                        <a:pt x="27" y="78"/>
                      </a:lnTo>
                      <a:lnTo>
                        <a:pt x="27" y="43"/>
                      </a:lnTo>
                      <a:lnTo>
                        <a:pt x="53" y="43"/>
                      </a:lnTo>
                      <a:lnTo>
                        <a:pt x="44" y="61"/>
                      </a:lnTo>
                      <a:lnTo>
                        <a:pt x="61" y="78"/>
                      </a:lnTo>
                      <a:lnTo>
                        <a:pt x="79" y="78"/>
                      </a:lnTo>
                      <a:lnTo>
                        <a:pt x="70" y="52"/>
                      </a:lnTo>
                      <a:lnTo>
                        <a:pt x="88" y="52"/>
                      </a:lnTo>
                      <a:lnTo>
                        <a:pt x="88" y="69"/>
                      </a:lnTo>
                      <a:lnTo>
                        <a:pt x="96" y="52"/>
                      </a:lnTo>
                      <a:lnTo>
                        <a:pt x="88" y="26"/>
                      </a:lnTo>
                      <a:lnTo>
                        <a:pt x="88" y="17"/>
                      </a:lnTo>
                      <a:lnTo>
                        <a:pt x="79" y="0"/>
                      </a:lnTo>
                      <a:lnTo>
                        <a:pt x="61" y="26"/>
                      </a:lnTo>
                      <a:lnTo>
                        <a:pt x="53" y="26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2" name="Freeform 468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3" name="Freeform 469"/>
                <p:cNvSpPr>
                  <a:spLocks/>
                </p:cNvSpPr>
                <p:nvPr/>
              </p:nvSpPr>
              <p:spPr bwMode="auto">
                <a:xfrm>
                  <a:off x="6547453" y="2586209"/>
                  <a:ext cx="18212" cy="8567"/>
                </a:xfrm>
                <a:custGeom>
                  <a:avLst/>
                  <a:gdLst>
                    <a:gd name="T0" fmla="*/ 2147483647 w 17"/>
                    <a:gd name="T1" fmla="*/ 2147483647 h 8"/>
                    <a:gd name="T2" fmla="*/ 2147483647 w 17"/>
                    <a:gd name="T3" fmla="*/ 0 h 8"/>
                    <a:gd name="T4" fmla="*/ 0 w 17"/>
                    <a:gd name="T5" fmla="*/ 2147483647 h 8"/>
                    <a:gd name="T6" fmla="*/ 2147483647 w 17"/>
                    <a:gd name="T7" fmla="*/ 214748364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8"/>
                    <a:gd name="T14" fmla="*/ 17 w 1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8">
                      <a:moveTo>
                        <a:pt x="17" y="8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4" name="Freeform 470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5" name="Freeform 471"/>
                <p:cNvSpPr>
                  <a:spLocks/>
                </p:cNvSpPr>
                <p:nvPr/>
              </p:nvSpPr>
              <p:spPr bwMode="auto">
                <a:xfrm>
                  <a:off x="6491746" y="2660099"/>
                  <a:ext cx="8570" cy="19276"/>
                </a:xfrm>
                <a:custGeom>
                  <a:avLst/>
                  <a:gdLst>
                    <a:gd name="T0" fmla="*/ 2147483647 w 8"/>
                    <a:gd name="T1" fmla="*/ 2147483647 h 18"/>
                    <a:gd name="T2" fmla="*/ 2147483647 w 8"/>
                    <a:gd name="T3" fmla="*/ 0 h 18"/>
                    <a:gd name="T4" fmla="*/ 0 w 8"/>
                    <a:gd name="T5" fmla="*/ 0 h 18"/>
                    <a:gd name="T6" fmla="*/ 2147483647 w 8"/>
                    <a:gd name="T7" fmla="*/ 2147483647 h 18"/>
                    <a:gd name="T8" fmla="*/ 2147483647 w 8"/>
                    <a:gd name="T9" fmla="*/ 2147483647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8"/>
                    <a:gd name="T17" fmla="*/ 8 w 8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8">
                      <a:moveTo>
                        <a:pt x="8" y="1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6" name="Freeform 472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7" name="Freeform 473"/>
                <p:cNvSpPr>
                  <a:spLocks/>
                </p:cNvSpPr>
                <p:nvPr/>
              </p:nvSpPr>
              <p:spPr bwMode="auto">
                <a:xfrm>
                  <a:off x="6864554" y="2828224"/>
                  <a:ext cx="187476" cy="158488"/>
                </a:xfrm>
                <a:custGeom>
                  <a:avLst/>
                  <a:gdLst>
                    <a:gd name="T0" fmla="*/ 2147483647 w 175"/>
                    <a:gd name="T1" fmla="*/ 2147483647 h 148"/>
                    <a:gd name="T2" fmla="*/ 2147483647 w 175"/>
                    <a:gd name="T3" fmla="*/ 2147483647 h 148"/>
                    <a:gd name="T4" fmla="*/ 2147483647 w 175"/>
                    <a:gd name="T5" fmla="*/ 2147483647 h 148"/>
                    <a:gd name="T6" fmla="*/ 0 w 175"/>
                    <a:gd name="T7" fmla="*/ 0 h 148"/>
                    <a:gd name="T8" fmla="*/ 0 w 175"/>
                    <a:gd name="T9" fmla="*/ 2147483647 h 148"/>
                    <a:gd name="T10" fmla="*/ 0 w 175"/>
                    <a:gd name="T11" fmla="*/ 2147483647 h 148"/>
                    <a:gd name="T12" fmla="*/ 0 w 175"/>
                    <a:gd name="T13" fmla="*/ 2147483647 h 148"/>
                    <a:gd name="T14" fmla="*/ 0 w 175"/>
                    <a:gd name="T15" fmla="*/ 2147483647 h 148"/>
                    <a:gd name="T16" fmla="*/ 2147483647 w 175"/>
                    <a:gd name="T17" fmla="*/ 2147483647 h 148"/>
                    <a:gd name="T18" fmla="*/ 2147483647 w 175"/>
                    <a:gd name="T19" fmla="*/ 2147483647 h 148"/>
                    <a:gd name="T20" fmla="*/ 2147483647 w 175"/>
                    <a:gd name="T21" fmla="*/ 2147483647 h 148"/>
                    <a:gd name="T22" fmla="*/ 2147483647 w 175"/>
                    <a:gd name="T23" fmla="*/ 2147483647 h 148"/>
                    <a:gd name="T24" fmla="*/ 2147483647 w 175"/>
                    <a:gd name="T25" fmla="*/ 2147483647 h 148"/>
                    <a:gd name="T26" fmla="*/ 2147483647 w 175"/>
                    <a:gd name="T27" fmla="*/ 2147483647 h 148"/>
                    <a:gd name="T28" fmla="*/ 2147483647 w 175"/>
                    <a:gd name="T29" fmla="*/ 2147483647 h 148"/>
                    <a:gd name="T30" fmla="*/ 2147483647 w 175"/>
                    <a:gd name="T31" fmla="*/ 2147483647 h 148"/>
                    <a:gd name="T32" fmla="*/ 2147483647 w 175"/>
                    <a:gd name="T33" fmla="*/ 2147483647 h 148"/>
                    <a:gd name="T34" fmla="*/ 2147483647 w 175"/>
                    <a:gd name="T35" fmla="*/ 2147483647 h 148"/>
                    <a:gd name="T36" fmla="*/ 2147483647 w 175"/>
                    <a:gd name="T37" fmla="*/ 2147483647 h 148"/>
                    <a:gd name="T38" fmla="*/ 2147483647 w 175"/>
                    <a:gd name="T39" fmla="*/ 2147483647 h 148"/>
                    <a:gd name="T40" fmla="*/ 2147483647 w 175"/>
                    <a:gd name="T41" fmla="*/ 2147483647 h 148"/>
                    <a:gd name="T42" fmla="*/ 2147483647 w 175"/>
                    <a:gd name="T43" fmla="*/ 2147483647 h 148"/>
                    <a:gd name="T44" fmla="*/ 2147483647 w 175"/>
                    <a:gd name="T45" fmla="*/ 2147483647 h 148"/>
                    <a:gd name="T46" fmla="*/ 2147483647 w 175"/>
                    <a:gd name="T47" fmla="*/ 2147483647 h 148"/>
                    <a:gd name="T48" fmla="*/ 2147483647 w 175"/>
                    <a:gd name="T49" fmla="*/ 2147483647 h 1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5"/>
                    <a:gd name="T76" fmla="*/ 0 h 148"/>
                    <a:gd name="T77" fmla="*/ 175 w 175"/>
                    <a:gd name="T78" fmla="*/ 148 h 1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5" h="148">
                      <a:moveTo>
                        <a:pt x="79" y="52"/>
                      </a:moveTo>
                      <a:lnTo>
                        <a:pt x="79" y="44"/>
                      </a:lnTo>
                      <a:lnTo>
                        <a:pt x="44" y="9"/>
                      </a:ln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0" y="70"/>
                      </a:lnTo>
                      <a:lnTo>
                        <a:pt x="0" y="87"/>
                      </a:lnTo>
                      <a:lnTo>
                        <a:pt x="0" y="122"/>
                      </a:lnTo>
                      <a:lnTo>
                        <a:pt x="27" y="122"/>
                      </a:lnTo>
                      <a:lnTo>
                        <a:pt x="44" y="113"/>
                      </a:lnTo>
                      <a:lnTo>
                        <a:pt x="27" y="113"/>
                      </a:lnTo>
                      <a:lnTo>
                        <a:pt x="44" y="96"/>
                      </a:lnTo>
                      <a:lnTo>
                        <a:pt x="70" y="96"/>
                      </a:lnTo>
                      <a:lnTo>
                        <a:pt x="105" y="131"/>
                      </a:lnTo>
                      <a:lnTo>
                        <a:pt x="140" y="148"/>
                      </a:lnTo>
                      <a:lnTo>
                        <a:pt x="157" y="148"/>
                      </a:lnTo>
                      <a:lnTo>
                        <a:pt x="175" y="148"/>
                      </a:lnTo>
                      <a:lnTo>
                        <a:pt x="166" y="140"/>
                      </a:lnTo>
                      <a:lnTo>
                        <a:pt x="149" y="131"/>
                      </a:lnTo>
                      <a:lnTo>
                        <a:pt x="140" y="122"/>
                      </a:lnTo>
                      <a:lnTo>
                        <a:pt x="123" y="113"/>
                      </a:lnTo>
                      <a:lnTo>
                        <a:pt x="105" y="96"/>
                      </a:lnTo>
                      <a:lnTo>
                        <a:pt x="105" y="70"/>
                      </a:lnTo>
                      <a:lnTo>
                        <a:pt x="79" y="52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8" name="Freeform 474"/>
                <p:cNvSpPr>
                  <a:spLocks/>
                </p:cNvSpPr>
                <p:nvPr/>
              </p:nvSpPr>
              <p:spPr bwMode="auto">
                <a:xfrm>
                  <a:off x="7220221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69" name="Freeform 475"/>
                <p:cNvSpPr>
                  <a:spLocks/>
                </p:cNvSpPr>
                <p:nvPr/>
              </p:nvSpPr>
              <p:spPr bwMode="auto">
                <a:xfrm>
                  <a:off x="7220222" y="3453610"/>
                  <a:ext cx="121056" cy="140284"/>
                </a:xfrm>
                <a:custGeom>
                  <a:avLst/>
                  <a:gdLst>
                    <a:gd name="T0" fmla="*/ 2147483647 w 113"/>
                    <a:gd name="T1" fmla="*/ 2147483647 h 131"/>
                    <a:gd name="T2" fmla="*/ 2147483647 w 113"/>
                    <a:gd name="T3" fmla="*/ 2147483647 h 131"/>
                    <a:gd name="T4" fmla="*/ 2147483647 w 113"/>
                    <a:gd name="T5" fmla="*/ 2147483647 h 131"/>
                    <a:gd name="T6" fmla="*/ 2147483647 w 113"/>
                    <a:gd name="T7" fmla="*/ 0 h 131"/>
                    <a:gd name="T8" fmla="*/ 2147483647 w 113"/>
                    <a:gd name="T9" fmla="*/ 2147483647 h 131"/>
                    <a:gd name="T10" fmla="*/ 2147483647 w 113"/>
                    <a:gd name="T11" fmla="*/ 2147483647 h 131"/>
                    <a:gd name="T12" fmla="*/ 2147483647 w 113"/>
                    <a:gd name="T13" fmla="*/ 2147483647 h 131"/>
                    <a:gd name="T14" fmla="*/ 2147483647 w 113"/>
                    <a:gd name="T15" fmla="*/ 2147483647 h 131"/>
                    <a:gd name="T16" fmla="*/ 2147483647 w 113"/>
                    <a:gd name="T17" fmla="*/ 2147483647 h 131"/>
                    <a:gd name="T18" fmla="*/ 2147483647 w 113"/>
                    <a:gd name="T19" fmla="*/ 2147483647 h 131"/>
                    <a:gd name="T20" fmla="*/ 2147483647 w 113"/>
                    <a:gd name="T21" fmla="*/ 2147483647 h 131"/>
                    <a:gd name="T22" fmla="*/ 2147483647 w 113"/>
                    <a:gd name="T23" fmla="*/ 2147483647 h 131"/>
                    <a:gd name="T24" fmla="*/ 2147483647 w 113"/>
                    <a:gd name="T25" fmla="*/ 2147483647 h 131"/>
                    <a:gd name="T26" fmla="*/ 0 w 113"/>
                    <a:gd name="T27" fmla="*/ 2147483647 h 131"/>
                    <a:gd name="T28" fmla="*/ 0 w 113"/>
                    <a:gd name="T29" fmla="*/ 2147483647 h 131"/>
                    <a:gd name="T30" fmla="*/ 2147483647 w 113"/>
                    <a:gd name="T31" fmla="*/ 2147483647 h 131"/>
                    <a:gd name="T32" fmla="*/ 2147483647 w 113"/>
                    <a:gd name="T33" fmla="*/ 2147483647 h 131"/>
                    <a:gd name="T34" fmla="*/ 2147483647 w 113"/>
                    <a:gd name="T35" fmla="*/ 2147483647 h 131"/>
                    <a:gd name="T36" fmla="*/ 2147483647 w 113"/>
                    <a:gd name="T37" fmla="*/ 2147483647 h 131"/>
                    <a:gd name="T38" fmla="*/ 2147483647 w 113"/>
                    <a:gd name="T39" fmla="*/ 2147483647 h 131"/>
                    <a:gd name="T40" fmla="*/ 2147483647 w 113"/>
                    <a:gd name="T41" fmla="*/ 2147483647 h 13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3"/>
                    <a:gd name="T64" fmla="*/ 0 h 131"/>
                    <a:gd name="T65" fmla="*/ 113 w 113"/>
                    <a:gd name="T66" fmla="*/ 131 h 13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3" h="131">
                      <a:moveTo>
                        <a:pt x="70" y="44"/>
                      </a:moveTo>
                      <a:lnTo>
                        <a:pt x="61" y="35"/>
                      </a:lnTo>
                      <a:lnTo>
                        <a:pt x="70" y="26"/>
                      </a:lnTo>
                      <a:lnTo>
                        <a:pt x="43" y="0"/>
                      </a:lnTo>
                      <a:lnTo>
                        <a:pt x="43" y="9"/>
                      </a:lnTo>
                      <a:lnTo>
                        <a:pt x="52" y="18"/>
                      </a:lnTo>
                      <a:lnTo>
                        <a:pt x="43" y="44"/>
                      </a:lnTo>
                      <a:lnTo>
                        <a:pt x="43" y="61"/>
                      </a:lnTo>
                      <a:lnTo>
                        <a:pt x="26" y="87"/>
                      </a:lnTo>
                      <a:lnTo>
                        <a:pt x="8" y="87"/>
                      </a:lnTo>
                      <a:lnTo>
                        <a:pt x="8" y="96"/>
                      </a:lnTo>
                      <a:lnTo>
                        <a:pt x="17" y="96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131"/>
                      </a:lnTo>
                      <a:lnTo>
                        <a:pt x="35" y="122"/>
                      </a:lnTo>
                      <a:lnTo>
                        <a:pt x="52" y="96"/>
                      </a:lnTo>
                      <a:lnTo>
                        <a:pt x="96" y="87"/>
                      </a:lnTo>
                      <a:lnTo>
                        <a:pt x="113" y="61"/>
                      </a:lnTo>
                      <a:lnTo>
                        <a:pt x="87" y="61"/>
                      </a:lnTo>
                      <a:lnTo>
                        <a:pt x="7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0" name="Freeform 476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1" name="Freeform 477"/>
                <p:cNvSpPr>
                  <a:spLocks/>
                </p:cNvSpPr>
                <p:nvPr/>
              </p:nvSpPr>
              <p:spPr bwMode="auto">
                <a:xfrm>
                  <a:off x="7004893" y="3574618"/>
                  <a:ext cx="196046" cy="112441"/>
                </a:xfrm>
                <a:custGeom>
                  <a:avLst/>
                  <a:gdLst>
                    <a:gd name="T0" fmla="*/ 2147483647 w 183"/>
                    <a:gd name="T1" fmla="*/ 2147483647 h 105"/>
                    <a:gd name="T2" fmla="*/ 2147483647 w 183"/>
                    <a:gd name="T3" fmla="*/ 0 h 105"/>
                    <a:gd name="T4" fmla="*/ 2147483647 w 183"/>
                    <a:gd name="T5" fmla="*/ 0 h 105"/>
                    <a:gd name="T6" fmla="*/ 2147483647 w 183"/>
                    <a:gd name="T7" fmla="*/ 2147483647 h 105"/>
                    <a:gd name="T8" fmla="*/ 2147483647 w 183"/>
                    <a:gd name="T9" fmla="*/ 2147483647 h 105"/>
                    <a:gd name="T10" fmla="*/ 2147483647 w 183"/>
                    <a:gd name="T11" fmla="*/ 2147483647 h 105"/>
                    <a:gd name="T12" fmla="*/ 2147483647 w 183"/>
                    <a:gd name="T13" fmla="*/ 2147483647 h 105"/>
                    <a:gd name="T14" fmla="*/ 2147483647 w 183"/>
                    <a:gd name="T15" fmla="*/ 2147483647 h 105"/>
                    <a:gd name="T16" fmla="*/ 0 w 183"/>
                    <a:gd name="T17" fmla="*/ 2147483647 h 105"/>
                    <a:gd name="T18" fmla="*/ 0 w 183"/>
                    <a:gd name="T19" fmla="*/ 2147483647 h 105"/>
                    <a:gd name="T20" fmla="*/ 2147483647 w 183"/>
                    <a:gd name="T21" fmla="*/ 2147483647 h 105"/>
                    <a:gd name="T22" fmla="*/ 2147483647 w 183"/>
                    <a:gd name="T23" fmla="*/ 2147483647 h 105"/>
                    <a:gd name="T24" fmla="*/ 2147483647 w 183"/>
                    <a:gd name="T25" fmla="*/ 2147483647 h 105"/>
                    <a:gd name="T26" fmla="*/ 2147483647 w 183"/>
                    <a:gd name="T27" fmla="*/ 2147483647 h 105"/>
                    <a:gd name="T28" fmla="*/ 2147483647 w 183"/>
                    <a:gd name="T29" fmla="*/ 2147483647 h 105"/>
                    <a:gd name="T30" fmla="*/ 2147483647 w 183"/>
                    <a:gd name="T31" fmla="*/ 2147483647 h 105"/>
                    <a:gd name="T32" fmla="*/ 2147483647 w 183"/>
                    <a:gd name="T33" fmla="*/ 2147483647 h 10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83"/>
                    <a:gd name="T52" fmla="*/ 0 h 105"/>
                    <a:gd name="T53" fmla="*/ 183 w 183"/>
                    <a:gd name="T54" fmla="*/ 105 h 10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83" h="105">
                      <a:moveTo>
                        <a:pt x="183" y="9"/>
                      </a:moveTo>
                      <a:lnTo>
                        <a:pt x="175" y="0"/>
                      </a:lnTo>
                      <a:lnTo>
                        <a:pt x="166" y="0"/>
                      </a:lnTo>
                      <a:lnTo>
                        <a:pt x="148" y="18"/>
                      </a:lnTo>
                      <a:lnTo>
                        <a:pt x="114" y="35"/>
                      </a:lnTo>
                      <a:lnTo>
                        <a:pt x="70" y="53"/>
                      </a:lnTo>
                      <a:lnTo>
                        <a:pt x="44" y="70"/>
                      </a:lnTo>
                      <a:lnTo>
                        <a:pt x="26" y="79"/>
                      </a:lnTo>
                      <a:lnTo>
                        <a:pt x="0" y="88"/>
                      </a:lnTo>
                      <a:lnTo>
                        <a:pt x="0" y="96"/>
                      </a:lnTo>
                      <a:lnTo>
                        <a:pt x="26" y="105"/>
                      </a:lnTo>
                      <a:lnTo>
                        <a:pt x="61" y="96"/>
                      </a:lnTo>
                      <a:lnTo>
                        <a:pt x="96" y="61"/>
                      </a:lnTo>
                      <a:lnTo>
                        <a:pt x="122" y="61"/>
                      </a:lnTo>
                      <a:lnTo>
                        <a:pt x="131" y="53"/>
                      </a:lnTo>
                      <a:lnTo>
                        <a:pt x="148" y="44"/>
                      </a:lnTo>
                      <a:lnTo>
                        <a:pt x="183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2" name="Freeform 478"/>
                <p:cNvSpPr>
                  <a:spLocks/>
                </p:cNvSpPr>
                <p:nvPr/>
              </p:nvSpPr>
              <p:spPr bwMode="auto">
                <a:xfrm>
                  <a:off x="7220221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3" name="Freeform 479"/>
                <p:cNvSpPr>
                  <a:spLocks/>
                </p:cNvSpPr>
                <p:nvPr/>
              </p:nvSpPr>
              <p:spPr bwMode="auto">
                <a:xfrm>
                  <a:off x="7220219" y="3145200"/>
                  <a:ext cx="65349" cy="84599"/>
                </a:xfrm>
                <a:custGeom>
                  <a:avLst/>
                  <a:gdLst>
                    <a:gd name="T0" fmla="*/ 2147483647 w 61"/>
                    <a:gd name="T1" fmla="*/ 0 h 79"/>
                    <a:gd name="T2" fmla="*/ 0 w 61"/>
                    <a:gd name="T3" fmla="*/ 2147483647 h 79"/>
                    <a:gd name="T4" fmla="*/ 2147483647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0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1"/>
                    <a:gd name="T28" fmla="*/ 0 h 79"/>
                    <a:gd name="T29" fmla="*/ 61 w 61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1" h="79">
                      <a:moveTo>
                        <a:pt x="8" y="0"/>
                      </a:moveTo>
                      <a:lnTo>
                        <a:pt x="0" y="9"/>
                      </a:lnTo>
                      <a:lnTo>
                        <a:pt x="8" y="27"/>
                      </a:lnTo>
                      <a:lnTo>
                        <a:pt x="43" y="79"/>
                      </a:lnTo>
                      <a:lnTo>
                        <a:pt x="61" y="70"/>
                      </a:lnTo>
                      <a:lnTo>
                        <a:pt x="43" y="44"/>
                      </a:lnTo>
                      <a:lnTo>
                        <a:pt x="17" y="27"/>
                      </a:lnTo>
                      <a:lnTo>
                        <a:pt x="17" y="9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4" name="Freeform 480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5" name="Freeform 481"/>
                <p:cNvSpPr>
                  <a:spLocks/>
                </p:cNvSpPr>
                <p:nvPr/>
              </p:nvSpPr>
              <p:spPr bwMode="auto">
                <a:xfrm>
                  <a:off x="6397472" y="1941549"/>
                  <a:ext cx="74990" cy="112441"/>
                </a:xfrm>
                <a:custGeom>
                  <a:avLst/>
                  <a:gdLst>
                    <a:gd name="T0" fmla="*/ 2147483647 w 70"/>
                    <a:gd name="T1" fmla="*/ 2147483647 h 105"/>
                    <a:gd name="T2" fmla="*/ 2147483647 w 70"/>
                    <a:gd name="T3" fmla="*/ 2147483647 h 105"/>
                    <a:gd name="T4" fmla="*/ 2147483647 w 70"/>
                    <a:gd name="T5" fmla="*/ 2147483647 h 105"/>
                    <a:gd name="T6" fmla="*/ 2147483647 w 70"/>
                    <a:gd name="T7" fmla="*/ 0 h 105"/>
                    <a:gd name="T8" fmla="*/ 2147483647 w 70"/>
                    <a:gd name="T9" fmla="*/ 2147483647 h 105"/>
                    <a:gd name="T10" fmla="*/ 2147483647 w 70"/>
                    <a:gd name="T11" fmla="*/ 2147483647 h 105"/>
                    <a:gd name="T12" fmla="*/ 2147483647 w 70"/>
                    <a:gd name="T13" fmla="*/ 2147483647 h 105"/>
                    <a:gd name="T14" fmla="*/ 0 w 70"/>
                    <a:gd name="T15" fmla="*/ 2147483647 h 105"/>
                    <a:gd name="T16" fmla="*/ 2147483647 w 70"/>
                    <a:gd name="T17" fmla="*/ 2147483647 h 105"/>
                    <a:gd name="T18" fmla="*/ 2147483647 w 70"/>
                    <a:gd name="T19" fmla="*/ 2147483647 h 105"/>
                    <a:gd name="T20" fmla="*/ 2147483647 w 70"/>
                    <a:gd name="T21" fmla="*/ 2147483647 h 105"/>
                    <a:gd name="T22" fmla="*/ 2147483647 w 70"/>
                    <a:gd name="T23" fmla="*/ 2147483647 h 105"/>
                    <a:gd name="T24" fmla="*/ 2147483647 w 70"/>
                    <a:gd name="T25" fmla="*/ 2147483647 h 105"/>
                    <a:gd name="T26" fmla="*/ 2147483647 w 70"/>
                    <a:gd name="T27" fmla="*/ 2147483647 h 105"/>
                    <a:gd name="T28" fmla="*/ 2147483647 w 70"/>
                    <a:gd name="T29" fmla="*/ 2147483647 h 105"/>
                    <a:gd name="T30" fmla="*/ 2147483647 w 70"/>
                    <a:gd name="T31" fmla="*/ 2147483647 h 105"/>
                    <a:gd name="T32" fmla="*/ 2147483647 w 70"/>
                    <a:gd name="T33" fmla="*/ 2147483647 h 105"/>
                    <a:gd name="T34" fmla="*/ 2147483647 w 70"/>
                    <a:gd name="T35" fmla="*/ 2147483647 h 105"/>
                    <a:gd name="T36" fmla="*/ 2147483647 w 70"/>
                    <a:gd name="T37" fmla="*/ 2147483647 h 105"/>
                    <a:gd name="T38" fmla="*/ 2147483647 w 70"/>
                    <a:gd name="T39" fmla="*/ 2147483647 h 105"/>
                    <a:gd name="T40" fmla="*/ 2147483647 w 70"/>
                    <a:gd name="T41" fmla="*/ 2147483647 h 10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0"/>
                    <a:gd name="T64" fmla="*/ 0 h 105"/>
                    <a:gd name="T65" fmla="*/ 70 w 70"/>
                    <a:gd name="T66" fmla="*/ 105 h 10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0" h="105">
                      <a:moveTo>
                        <a:pt x="70" y="18"/>
                      </a:moveTo>
                      <a:lnTo>
                        <a:pt x="62" y="18"/>
                      </a:lnTo>
                      <a:lnTo>
                        <a:pt x="70" y="9"/>
                      </a:lnTo>
                      <a:lnTo>
                        <a:pt x="70" y="0"/>
                      </a:lnTo>
                      <a:lnTo>
                        <a:pt x="53" y="9"/>
                      </a:lnTo>
                      <a:lnTo>
                        <a:pt x="44" y="26"/>
                      </a:lnTo>
                      <a:lnTo>
                        <a:pt x="18" y="35"/>
                      </a:lnTo>
                      <a:lnTo>
                        <a:pt x="0" y="52"/>
                      </a:lnTo>
                      <a:lnTo>
                        <a:pt x="18" y="79"/>
                      </a:lnTo>
                      <a:lnTo>
                        <a:pt x="9" y="87"/>
                      </a:lnTo>
                      <a:lnTo>
                        <a:pt x="44" y="105"/>
                      </a:lnTo>
                      <a:lnTo>
                        <a:pt x="62" y="96"/>
                      </a:lnTo>
                      <a:lnTo>
                        <a:pt x="70" y="87"/>
                      </a:lnTo>
                      <a:lnTo>
                        <a:pt x="62" y="70"/>
                      </a:lnTo>
                      <a:lnTo>
                        <a:pt x="44" y="70"/>
                      </a:lnTo>
                      <a:lnTo>
                        <a:pt x="44" y="52"/>
                      </a:lnTo>
                      <a:lnTo>
                        <a:pt x="62" y="52"/>
                      </a:lnTo>
                      <a:lnTo>
                        <a:pt x="62" y="35"/>
                      </a:lnTo>
                      <a:lnTo>
                        <a:pt x="62" y="26"/>
                      </a:lnTo>
                      <a:lnTo>
                        <a:pt x="70" y="18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6" name="Freeform 482"/>
                <p:cNvSpPr>
                  <a:spLocks/>
                </p:cNvSpPr>
                <p:nvPr/>
              </p:nvSpPr>
              <p:spPr bwMode="auto">
                <a:xfrm>
                  <a:off x="6444609" y="2034715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7" name="Freeform 483"/>
                <p:cNvSpPr>
                  <a:spLocks/>
                </p:cNvSpPr>
                <p:nvPr/>
              </p:nvSpPr>
              <p:spPr bwMode="auto">
                <a:xfrm>
                  <a:off x="6444607" y="2034716"/>
                  <a:ext cx="65349" cy="84599"/>
                </a:xfrm>
                <a:custGeom>
                  <a:avLst/>
                  <a:gdLst>
                    <a:gd name="T0" fmla="*/ 2147483647 w 61"/>
                    <a:gd name="T1" fmla="*/ 2147483647 h 79"/>
                    <a:gd name="T2" fmla="*/ 0 w 61"/>
                    <a:gd name="T3" fmla="*/ 2147483647 h 79"/>
                    <a:gd name="T4" fmla="*/ 0 w 61"/>
                    <a:gd name="T5" fmla="*/ 2147483647 h 79"/>
                    <a:gd name="T6" fmla="*/ 2147483647 w 61"/>
                    <a:gd name="T7" fmla="*/ 2147483647 h 79"/>
                    <a:gd name="T8" fmla="*/ 2147483647 w 61"/>
                    <a:gd name="T9" fmla="*/ 2147483647 h 79"/>
                    <a:gd name="T10" fmla="*/ 2147483647 w 61"/>
                    <a:gd name="T11" fmla="*/ 2147483647 h 79"/>
                    <a:gd name="T12" fmla="*/ 2147483647 w 61"/>
                    <a:gd name="T13" fmla="*/ 2147483647 h 79"/>
                    <a:gd name="T14" fmla="*/ 2147483647 w 61"/>
                    <a:gd name="T15" fmla="*/ 2147483647 h 79"/>
                    <a:gd name="T16" fmla="*/ 2147483647 w 61"/>
                    <a:gd name="T17" fmla="*/ 2147483647 h 79"/>
                    <a:gd name="T18" fmla="*/ 2147483647 w 61"/>
                    <a:gd name="T19" fmla="*/ 2147483647 h 79"/>
                    <a:gd name="T20" fmla="*/ 2147483647 w 61"/>
                    <a:gd name="T21" fmla="*/ 2147483647 h 79"/>
                    <a:gd name="T22" fmla="*/ 2147483647 w 61"/>
                    <a:gd name="T23" fmla="*/ 0 h 79"/>
                    <a:gd name="T24" fmla="*/ 2147483647 w 61"/>
                    <a:gd name="T25" fmla="*/ 2147483647 h 7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1"/>
                    <a:gd name="T40" fmla="*/ 0 h 79"/>
                    <a:gd name="T41" fmla="*/ 61 w 61"/>
                    <a:gd name="T42" fmla="*/ 79 h 7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1" h="79">
                      <a:moveTo>
                        <a:pt x="18" y="9"/>
                      </a:moveTo>
                      <a:lnTo>
                        <a:pt x="0" y="18"/>
                      </a:lnTo>
                      <a:lnTo>
                        <a:pt x="0" y="26"/>
                      </a:lnTo>
                      <a:lnTo>
                        <a:pt x="26" y="44"/>
                      </a:lnTo>
                      <a:lnTo>
                        <a:pt x="26" y="70"/>
                      </a:lnTo>
                      <a:lnTo>
                        <a:pt x="35" y="79"/>
                      </a:lnTo>
                      <a:lnTo>
                        <a:pt x="44" y="70"/>
                      </a:lnTo>
                      <a:lnTo>
                        <a:pt x="52" y="70"/>
                      </a:lnTo>
                      <a:lnTo>
                        <a:pt x="61" y="61"/>
                      </a:lnTo>
                      <a:lnTo>
                        <a:pt x="52" y="18"/>
                      </a:lnTo>
                      <a:lnTo>
                        <a:pt x="44" y="18"/>
                      </a:lnTo>
                      <a:lnTo>
                        <a:pt x="26" y="0"/>
                      </a:lnTo>
                      <a:lnTo>
                        <a:pt x="18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8" name="Freeform 484"/>
                <p:cNvSpPr>
                  <a:spLocks/>
                </p:cNvSpPr>
                <p:nvPr/>
              </p:nvSpPr>
              <p:spPr bwMode="auto">
                <a:xfrm>
                  <a:off x="6491743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79" name="Freeform 485"/>
                <p:cNvSpPr>
                  <a:spLocks/>
                </p:cNvSpPr>
                <p:nvPr/>
              </p:nvSpPr>
              <p:spPr bwMode="auto">
                <a:xfrm>
                  <a:off x="6491744" y="2127881"/>
                  <a:ext cx="8570" cy="9638"/>
                </a:xfrm>
                <a:custGeom>
                  <a:avLst/>
                  <a:gdLst>
                    <a:gd name="T0" fmla="*/ 0 w 8"/>
                    <a:gd name="T1" fmla="*/ 0 h 9"/>
                    <a:gd name="T2" fmla="*/ 0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9"/>
                    <a:gd name="T14" fmla="*/ 8 w 8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9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0" name="Freeform 486"/>
                <p:cNvSpPr>
                  <a:spLocks/>
                </p:cNvSpPr>
                <p:nvPr/>
              </p:nvSpPr>
              <p:spPr bwMode="auto">
                <a:xfrm>
                  <a:off x="6388900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1" name="Freeform 487"/>
                <p:cNvSpPr>
                  <a:spLocks/>
                </p:cNvSpPr>
                <p:nvPr/>
              </p:nvSpPr>
              <p:spPr bwMode="auto">
                <a:xfrm>
                  <a:off x="6388899" y="2361330"/>
                  <a:ext cx="55707" cy="74961"/>
                </a:xfrm>
                <a:custGeom>
                  <a:avLst/>
                  <a:gdLst>
                    <a:gd name="T0" fmla="*/ 2147483647 w 52"/>
                    <a:gd name="T1" fmla="*/ 0 h 70"/>
                    <a:gd name="T2" fmla="*/ 0 w 52"/>
                    <a:gd name="T3" fmla="*/ 2147483647 h 70"/>
                    <a:gd name="T4" fmla="*/ 2147483647 w 52"/>
                    <a:gd name="T5" fmla="*/ 2147483647 h 70"/>
                    <a:gd name="T6" fmla="*/ 2147483647 w 52"/>
                    <a:gd name="T7" fmla="*/ 2147483647 h 70"/>
                    <a:gd name="T8" fmla="*/ 2147483647 w 52"/>
                    <a:gd name="T9" fmla="*/ 2147483647 h 70"/>
                    <a:gd name="T10" fmla="*/ 2147483647 w 52"/>
                    <a:gd name="T11" fmla="*/ 2147483647 h 70"/>
                    <a:gd name="T12" fmla="*/ 2147483647 w 52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2"/>
                    <a:gd name="T22" fmla="*/ 0 h 70"/>
                    <a:gd name="T23" fmla="*/ 52 w 52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2" h="70">
                      <a:moveTo>
                        <a:pt x="8" y="0"/>
                      </a:moveTo>
                      <a:lnTo>
                        <a:pt x="0" y="27"/>
                      </a:lnTo>
                      <a:lnTo>
                        <a:pt x="8" y="61"/>
                      </a:lnTo>
                      <a:lnTo>
                        <a:pt x="26" y="70"/>
                      </a:lnTo>
                      <a:lnTo>
                        <a:pt x="52" y="53"/>
                      </a:lnTo>
                      <a:lnTo>
                        <a:pt x="35" y="1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2" name="Freeform 492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3" name="Freeform 493"/>
                <p:cNvSpPr>
                  <a:spLocks/>
                </p:cNvSpPr>
                <p:nvPr/>
              </p:nvSpPr>
              <p:spPr bwMode="auto">
                <a:xfrm>
                  <a:off x="5080858" y="2426654"/>
                  <a:ext cx="177834" cy="130646"/>
                </a:xfrm>
                <a:custGeom>
                  <a:avLst/>
                  <a:gdLst>
                    <a:gd name="T0" fmla="*/ 2147483647 w 166"/>
                    <a:gd name="T1" fmla="*/ 2147483647 h 122"/>
                    <a:gd name="T2" fmla="*/ 2147483647 w 166"/>
                    <a:gd name="T3" fmla="*/ 2147483647 h 122"/>
                    <a:gd name="T4" fmla="*/ 2147483647 w 166"/>
                    <a:gd name="T5" fmla="*/ 2147483647 h 122"/>
                    <a:gd name="T6" fmla="*/ 2147483647 w 166"/>
                    <a:gd name="T7" fmla="*/ 2147483647 h 122"/>
                    <a:gd name="T8" fmla="*/ 0 w 166"/>
                    <a:gd name="T9" fmla="*/ 2147483647 h 122"/>
                    <a:gd name="T10" fmla="*/ 2147483647 w 166"/>
                    <a:gd name="T11" fmla="*/ 2147483647 h 122"/>
                    <a:gd name="T12" fmla="*/ 2147483647 w 166"/>
                    <a:gd name="T13" fmla="*/ 2147483647 h 122"/>
                    <a:gd name="T14" fmla="*/ 2147483647 w 166"/>
                    <a:gd name="T15" fmla="*/ 2147483647 h 122"/>
                    <a:gd name="T16" fmla="*/ 2147483647 w 166"/>
                    <a:gd name="T17" fmla="*/ 2147483647 h 122"/>
                    <a:gd name="T18" fmla="*/ 2147483647 w 166"/>
                    <a:gd name="T19" fmla="*/ 2147483647 h 122"/>
                    <a:gd name="T20" fmla="*/ 2147483647 w 166"/>
                    <a:gd name="T21" fmla="*/ 0 h 122"/>
                    <a:gd name="T22" fmla="*/ 2147483647 w 166"/>
                    <a:gd name="T23" fmla="*/ 2147483647 h 122"/>
                    <a:gd name="T24" fmla="*/ 2147483647 w 166"/>
                    <a:gd name="T25" fmla="*/ 2147483647 h 1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122"/>
                    <a:gd name="T41" fmla="*/ 166 w 166"/>
                    <a:gd name="T42" fmla="*/ 122 h 1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122">
                      <a:moveTo>
                        <a:pt x="61" y="44"/>
                      </a:moveTo>
                      <a:lnTo>
                        <a:pt x="26" y="18"/>
                      </a:lnTo>
                      <a:lnTo>
                        <a:pt x="9" y="27"/>
                      </a:lnTo>
                      <a:lnTo>
                        <a:pt x="9" y="44"/>
                      </a:lnTo>
                      <a:lnTo>
                        <a:pt x="0" y="53"/>
                      </a:lnTo>
                      <a:lnTo>
                        <a:pt x="18" y="114"/>
                      </a:lnTo>
                      <a:lnTo>
                        <a:pt x="18" y="122"/>
                      </a:lnTo>
                      <a:lnTo>
                        <a:pt x="113" y="79"/>
                      </a:lnTo>
                      <a:lnTo>
                        <a:pt x="157" y="61"/>
                      </a:lnTo>
                      <a:lnTo>
                        <a:pt x="166" y="44"/>
                      </a:lnTo>
                      <a:lnTo>
                        <a:pt x="157" y="0"/>
                      </a:lnTo>
                      <a:lnTo>
                        <a:pt x="87" y="9"/>
                      </a:lnTo>
                      <a:lnTo>
                        <a:pt x="61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4" name="Freeform 494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5" name="Freeform 495"/>
                <p:cNvSpPr>
                  <a:spLocks/>
                </p:cNvSpPr>
                <p:nvPr/>
              </p:nvSpPr>
              <p:spPr bwMode="auto">
                <a:xfrm>
                  <a:off x="5249050" y="2305646"/>
                  <a:ext cx="130697" cy="168127"/>
                </a:xfrm>
                <a:custGeom>
                  <a:avLst/>
                  <a:gdLst>
                    <a:gd name="T0" fmla="*/ 2147483647 w 122"/>
                    <a:gd name="T1" fmla="*/ 2147483647 h 157"/>
                    <a:gd name="T2" fmla="*/ 2147483647 w 122"/>
                    <a:gd name="T3" fmla="*/ 2147483647 h 157"/>
                    <a:gd name="T4" fmla="*/ 2147483647 w 122"/>
                    <a:gd name="T5" fmla="*/ 0 h 157"/>
                    <a:gd name="T6" fmla="*/ 2147483647 w 122"/>
                    <a:gd name="T7" fmla="*/ 2147483647 h 157"/>
                    <a:gd name="T8" fmla="*/ 2147483647 w 122"/>
                    <a:gd name="T9" fmla="*/ 2147483647 h 157"/>
                    <a:gd name="T10" fmla="*/ 2147483647 w 122"/>
                    <a:gd name="T11" fmla="*/ 2147483647 h 157"/>
                    <a:gd name="T12" fmla="*/ 0 w 122"/>
                    <a:gd name="T13" fmla="*/ 2147483647 h 157"/>
                    <a:gd name="T14" fmla="*/ 2147483647 w 122"/>
                    <a:gd name="T15" fmla="*/ 2147483647 h 157"/>
                    <a:gd name="T16" fmla="*/ 2147483647 w 122"/>
                    <a:gd name="T17" fmla="*/ 2147483647 h 157"/>
                    <a:gd name="T18" fmla="*/ 2147483647 w 122"/>
                    <a:gd name="T19" fmla="*/ 2147483647 h 157"/>
                    <a:gd name="T20" fmla="*/ 2147483647 w 122"/>
                    <a:gd name="T21" fmla="*/ 2147483647 h 157"/>
                    <a:gd name="T22" fmla="*/ 2147483647 w 122"/>
                    <a:gd name="T23" fmla="*/ 2147483647 h 157"/>
                    <a:gd name="T24" fmla="*/ 2147483647 w 122"/>
                    <a:gd name="T25" fmla="*/ 2147483647 h 157"/>
                    <a:gd name="T26" fmla="*/ 2147483647 w 122"/>
                    <a:gd name="T27" fmla="*/ 2147483647 h 15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2"/>
                    <a:gd name="T43" fmla="*/ 0 h 157"/>
                    <a:gd name="T44" fmla="*/ 122 w 122"/>
                    <a:gd name="T45" fmla="*/ 157 h 15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2" h="157">
                      <a:moveTo>
                        <a:pt x="122" y="44"/>
                      </a:moveTo>
                      <a:lnTo>
                        <a:pt x="78" y="26"/>
                      </a:lnTo>
                      <a:lnTo>
                        <a:pt x="61" y="0"/>
                      </a:lnTo>
                      <a:lnTo>
                        <a:pt x="44" y="44"/>
                      </a:lnTo>
                      <a:lnTo>
                        <a:pt x="52" y="52"/>
                      </a:lnTo>
                      <a:lnTo>
                        <a:pt x="26" y="96"/>
                      </a:lnTo>
                      <a:lnTo>
                        <a:pt x="0" y="113"/>
                      </a:lnTo>
                      <a:lnTo>
                        <a:pt x="9" y="157"/>
                      </a:lnTo>
                      <a:lnTo>
                        <a:pt x="44" y="148"/>
                      </a:lnTo>
                      <a:lnTo>
                        <a:pt x="44" y="131"/>
                      </a:lnTo>
                      <a:lnTo>
                        <a:pt x="61" y="131"/>
                      </a:lnTo>
                      <a:lnTo>
                        <a:pt x="70" y="122"/>
                      </a:lnTo>
                      <a:lnTo>
                        <a:pt x="87" y="113"/>
                      </a:lnTo>
                      <a:lnTo>
                        <a:pt x="122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6" name="Freeform 496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7" name="Freeform 497"/>
                <p:cNvSpPr>
                  <a:spLocks/>
                </p:cNvSpPr>
                <p:nvPr/>
              </p:nvSpPr>
              <p:spPr bwMode="auto">
                <a:xfrm>
                  <a:off x="4931949" y="2165362"/>
                  <a:ext cx="372808" cy="318047"/>
                </a:xfrm>
                <a:custGeom>
                  <a:avLst/>
                  <a:gdLst>
                    <a:gd name="T0" fmla="*/ 2147483647 w 348"/>
                    <a:gd name="T1" fmla="*/ 2147483647 h 297"/>
                    <a:gd name="T2" fmla="*/ 2147483647 w 348"/>
                    <a:gd name="T3" fmla="*/ 2147483647 h 297"/>
                    <a:gd name="T4" fmla="*/ 0 w 348"/>
                    <a:gd name="T5" fmla="*/ 2147483647 h 297"/>
                    <a:gd name="T6" fmla="*/ 0 w 348"/>
                    <a:gd name="T7" fmla="*/ 2147483647 h 297"/>
                    <a:gd name="T8" fmla="*/ 2147483647 w 348"/>
                    <a:gd name="T9" fmla="*/ 2147483647 h 297"/>
                    <a:gd name="T10" fmla="*/ 2147483647 w 348"/>
                    <a:gd name="T11" fmla="*/ 2147483647 h 297"/>
                    <a:gd name="T12" fmla="*/ 2147483647 w 348"/>
                    <a:gd name="T13" fmla="*/ 2147483647 h 297"/>
                    <a:gd name="T14" fmla="*/ 2147483647 w 348"/>
                    <a:gd name="T15" fmla="*/ 2147483647 h 297"/>
                    <a:gd name="T16" fmla="*/ 2147483647 w 348"/>
                    <a:gd name="T17" fmla="*/ 2147483647 h 297"/>
                    <a:gd name="T18" fmla="*/ 2147483647 w 348"/>
                    <a:gd name="T19" fmla="*/ 2147483647 h 297"/>
                    <a:gd name="T20" fmla="*/ 2147483647 w 348"/>
                    <a:gd name="T21" fmla="*/ 2147483647 h 297"/>
                    <a:gd name="T22" fmla="*/ 2147483647 w 348"/>
                    <a:gd name="T23" fmla="*/ 2147483647 h 297"/>
                    <a:gd name="T24" fmla="*/ 2147483647 w 348"/>
                    <a:gd name="T25" fmla="*/ 2147483647 h 297"/>
                    <a:gd name="T26" fmla="*/ 2147483647 w 348"/>
                    <a:gd name="T27" fmla="*/ 2147483647 h 297"/>
                    <a:gd name="T28" fmla="*/ 2147483647 w 348"/>
                    <a:gd name="T29" fmla="*/ 2147483647 h 297"/>
                    <a:gd name="T30" fmla="*/ 2147483647 w 348"/>
                    <a:gd name="T31" fmla="*/ 2147483647 h 297"/>
                    <a:gd name="T32" fmla="*/ 2147483647 w 348"/>
                    <a:gd name="T33" fmla="*/ 2147483647 h 297"/>
                    <a:gd name="T34" fmla="*/ 2147483647 w 348"/>
                    <a:gd name="T35" fmla="*/ 2147483647 h 297"/>
                    <a:gd name="T36" fmla="*/ 2147483647 w 348"/>
                    <a:gd name="T37" fmla="*/ 2147483647 h 297"/>
                    <a:gd name="T38" fmla="*/ 2147483647 w 348"/>
                    <a:gd name="T39" fmla="*/ 2147483647 h 297"/>
                    <a:gd name="T40" fmla="*/ 2147483647 w 348"/>
                    <a:gd name="T41" fmla="*/ 2147483647 h 297"/>
                    <a:gd name="T42" fmla="*/ 2147483647 w 348"/>
                    <a:gd name="T43" fmla="*/ 2147483647 h 297"/>
                    <a:gd name="T44" fmla="*/ 2147483647 w 348"/>
                    <a:gd name="T45" fmla="*/ 2147483647 h 297"/>
                    <a:gd name="T46" fmla="*/ 2147483647 w 348"/>
                    <a:gd name="T47" fmla="*/ 2147483647 h 297"/>
                    <a:gd name="T48" fmla="*/ 2147483647 w 348"/>
                    <a:gd name="T49" fmla="*/ 2147483647 h 297"/>
                    <a:gd name="T50" fmla="*/ 2147483647 w 348"/>
                    <a:gd name="T51" fmla="*/ 2147483647 h 297"/>
                    <a:gd name="T52" fmla="*/ 2147483647 w 348"/>
                    <a:gd name="T53" fmla="*/ 2147483647 h 297"/>
                    <a:gd name="T54" fmla="*/ 2147483647 w 348"/>
                    <a:gd name="T55" fmla="*/ 2147483647 h 297"/>
                    <a:gd name="T56" fmla="*/ 2147483647 w 348"/>
                    <a:gd name="T57" fmla="*/ 2147483647 h 297"/>
                    <a:gd name="T58" fmla="*/ 2147483647 w 348"/>
                    <a:gd name="T59" fmla="*/ 2147483647 h 297"/>
                    <a:gd name="T60" fmla="*/ 2147483647 w 348"/>
                    <a:gd name="T61" fmla="*/ 0 h 297"/>
                    <a:gd name="T62" fmla="*/ 2147483647 w 348"/>
                    <a:gd name="T63" fmla="*/ 2147483647 h 297"/>
                    <a:gd name="T64" fmla="*/ 2147483647 w 348"/>
                    <a:gd name="T65" fmla="*/ 2147483647 h 297"/>
                    <a:gd name="T66" fmla="*/ 2147483647 w 348"/>
                    <a:gd name="T67" fmla="*/ 2147483647 h 29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48"/>
                    <a:gd name="T103" fmla="*/ 0 h 297"/>
                    <a:gd name="T104" fmla="*/ 348 w 348"/>
                    <a:gd name="T105" fmla="*/ 297 h 29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48" h="297">
                      <a:moveTo>
                        <a:pt x="34" y="35"/>
                      </a:moveTo>
                      <a:lnTo>
                        <a:pt x="17" y="61"/>
                      </a:lnTo>
                      <a:lnTo>
                        <a:pt x="0" y="53"/>
                      </a:lnTo>
                      <a:lnTo>
                        <a:pt x="0" y="79"/>
                      </a:lnTo>
                      <a:lnTo>
                        <a:pt x="26" y="131"/>
                      </a:lnTo>
                      <a:lnTo>
                        <a:pt x="69" y="175"/>
                      </a:lnTo>
                      <a:lnTo>
                        <a:pt x="69" y="192"/>
                      </a:lnTo>
                      <a:lnTo>
                        <a:pt x="95" y="236"/>
                      </a:lnTo>
                      <a:lnTo>
                        <a:pt x="139" y="297"/>
                      </a:lnTo>
                      <a:lnTo>
                        <a:pt x="148" y="288"/>
                      </a:lnTo>
                      <a:lnTo>
                        <a:pt x="148" y="271"/>
                      </a:lnTo>
                      <a:lnTo>
                        <a:pt x="165" y="262"/>
                      </a:lnTo>
                      <a:lnTo>
                        <a:pt x="200" y="288"/>
                      </a:lnTo>
                      <a:lnTo>
                        <a:pt x="226" y="253"/>
                      </a:lnTo>
                      <a:lnTo>
                        <a:pt x="296" y="244"/>
                      </a:lnTo>
                      <a:lnTo>
                        <a:pt x="322" y="227"/>
                      </a:lnTo>
                      <a:lnTo>
                        <a:pt x="348" y="183"/>
                      </a:lnTo>
                      <a:lnTo>
                        <a:pt x="340" y="175"/>
                      </a:lnTo>
                      <a:lnTo>
                        <a:pt x="331" y="175"/>
                      </a:lnTo>
                      <a:lnTo>
                        <a:pt x="279" y="175"/>
                      </a:lnTo>
                      <a:lnTo>
                        <a:pt x="270" y="149"/>
                      </a:lnTo>
                      <a:lnTo>
                        <a:pt x="261" y="140"/>
                      </a:lnTo>
                      <a:lnTo>
                        <a:pt x="252" y="131"/>
                      </a:lnTo>
                      <a:lnTo>
                        <a:pt x="252" y="105"/>
                      </a:lnTo>
                      <a:lnTo>
                        <a:pt x="209" y="79"/>
                      </a:lnTo>
                      <a:lnTo>
                        <a:pt x="209" y="70"/>
                      </a:lnTo>
                      <a:lnTo>
                        <a:pt x="191" y="61"/>
                      </a:lnTo>
                      <a:lnTo>
                        <a:pt x="157" y="61"/>
                      </a:lnTo>
                      <a:lnTo>
                        <a:pt x="139" y="53"/>
                      </a:lnTo>
                      <a:lnTo>
                        <a:pt x="130" y="35"/>
                      </a:lnTo>
                      <a:lnTo>
                        <a:pt x="61" y="0"/>
                      </a:lnTo>
                      <a:lnTo>
                        <a:pt x="34" y="9"/>
                      </a:lnTo>
                      <a:lnTo>
                        <a:pt x="34" y="27"/>
                      </a:lnTo>
                      <a:lnTo>
                        <a:pt x="34" y="35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8" name="Freeform 498"/>
                <p:cNvSpPr>
                  <a:spLocks/>
                </p:cNvSpPr>
                <p:nvPr/>
              </p:nvSpPr>
              <p:spPr bwMode="auto">
                <a:xfrm>
                  <a:off x="5221197" y="2287444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89" name="Freeform 499"/>
                <p:cNvSpPr>
                  <a:spLocks/>
                </p:cNvSpPr>
                <p:nvPr/>
              </p:nvSpPr>
              <p:spPr bwMode="auto">
                <a:xfrm>
                  <a:off x="5221197" y="2287442"/>
                  <a:ext cx="93202" cy="65323"/>
                </a:xfrm>
                <a:custGeom>
                  <a:avLst/>
                  <a:gdLst>
                    <a:gd name="T0" fmla="*/ 2147483647 w 87"/>
                    <a:gd name="T1" fmla="*/ 2147483647 h 61"/>
                    <a:gd name="T2" fmla="*/ 2147483647 w 87"/>
                    <a:gd name="T3" fmla="*/ 0 h 61"/>
                    <a:gd name="T4" fmla="*/ 2147483647 w 87"/>
                    <a:gd name="T5" fmla="*/ 2147483647 h 61"/>
                    <a:gd name="T6" fmla="*/ 2147483647 w 87"/>
                    <a:gd name="T7" fmla="*/ 2147483647 h 61"/>
                    <a:gd name="T8" fmla="*/ 0 w 87"/>
                    <a:gd name="T9" fmla="*/ 2147483647 h 61"/>
                    <a:gd name="T10" fmla="*/ 2147483647 w 87"/>
                    <a:gd name="T11" fmla="*/ 2147483647 h 61"/>
                    <a:gd name="T12" fmla="*/ 2147483647 w 87"/>
                    <a:gd name="T13" fmla="*/ 2147483647 h 61"/>
                    <a:gd name="T14" fmla="*/ 2147483647 w 87"/>
                    <a:gd name="T15" fmla="*/ 2147483647 h 61"/>
                    <a:gd name="T16" fmla="*/ 2147483647 w 87"/>
                    <a:gd name="T17" fmla="*/ 2147483647 h 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7"/>
                    <a:gd name="T28" fmla="*/ 0 h 61"/>
                    <a:gd name="T29" fmla="*/ 87 w 87"/>
                    <a:gd name="T30" fmla="*/ 61 h 6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7" h="61">
                      <a:moveTo>
                        <a:pt x="87" y="17"/>
                      </a:moveTo>
                      <a:lnTo>
                        <a:pt x="78" y="0"/>
                      </a:lnTo>
                      <a:lnTo>
                        <a:pt x="52" y="17"/>
                      </a:lnTo>
                      <a:lnTo>
                        <a:pt x="9" y="26"/>
                      </a:lnTo>
                      <a:lnTo>
                        <a:pt x="0" y="35"/>
                      </a:lnTo>
                      <a:lnTo>
                        <a:pt x="9" y="61"/>
                      </a:lnTo>
                      <a:lnTo>
                        <a:pt x="61" y="61"/>
                      </a:lnTo>
                      <a:lnTo>
                        <a:pt x="70" y="61"/>
                      </a:lnTo>
                      <a:lnTo>
                        <a:pt x="87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0" name="Freeform 500"/>
                <p:cNvSpPr>
                  <a:spLocks/>
                </p:cNvSpPr>
                <p:nvPr/>
              </p:nvSpPr>
              <p:spPr bwMode="auto">
                <a:xfrm>
                  <a:off x="5221193" y="2277803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1" name="Freeform 501"/>
                <p:cNvSpPr>
                  <a:spLocks/>
                </p:cNvSpPr>
                <p:nvPr/>
              </p:nvSpPr>
              <p:spPr bwMode="auto">
                <a:xfrm>
                  <a:off x="5221189" y="2277807"/>
                  <a:ext cx="9642" cy="47118"/>
                </a:xfrm>
                <a:custGeom>
                  <a:avLst/>
                  <a:gdLst>
                    <a:gd name="T0" fmla="*/ 0 w 9"/>
                    <a:gd name="T1" fmla="*/ 2147483647 h 44"/>
                    <a:gd name="T2" fmla="*/ 2147483647 w 9"/>
                    <a:gd name="T3" fmla="*/ 2147483647 h 44"/>
                    <a:gd name="T4" fmla="*/ 2147483647 w 9"/>
                    <a:gd name="T5" fmla="*/ 2147483647 h 44"/>
                    <a:gd name="T6" fmla="*/ 2147483647 w 9"/>
                    <a:gd name="T7" fmla="*/ 0 h 44"/>
                    <a:gd name="T8" fmla="*/ 0 w 9"/>
                    <a:gd name="T9" fmla="*/ 0 h 44"/>
                    <a:gd name="T10" fmla="*/ 0 w 9"/>
                    <a:gd name="T11" fmla="*/ 2147483647 h 44"/>
                    <a:gd name="T12" fmla="*/ 0 w 9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44"/>
                    <a:gd name="T23" fmla="*/ 9 w 9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44">
                      <a:moveTo>
                        <a:pt x="0" y="44"/>
                      </a:moveTo>
                      <a:lnTo>
                        <a:pt x="9" y="35"/>
                      </a:lnTo>
                      <a:lnTo>
                        <a:pt x="9" y="17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0" y="26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2" name="Freeform 502"/>
                <p:cNvSpPr>
                  <a:spLocks/>
                </p:cNvSpPr>
                <p:nvPr/>
              </p:nvSpPr>
              <p:spPr bwMode="auto">
                <a:xfrm>
                  <a:off x="5136562" y="2202846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3" name="Freeform 503"/>
                <p:cNvSpPr>
                  <a:spLocks/>
                </p:cNvSpPr>
                <p:nvPr/>
              </p:nvSpPr>
              <p:spPr bwMode="auto">
                <a:xfrm>
                  <a:off x="5136562" y="2202849"/>
                  <a:ext cx="19283" cy="37481"/>
                </a:xfrm>
                <a:custGeom>
                  <a:avLst/>
                  <a:gdLst>
                    <a:gd name="T0" fmla="*/ 0 w 18"/>
                    <a:gd name="T1" fmla="*/ 2147483647 h 35"/>
                    <a:gd name="T2" fmla="*/ 0 w 18"/>
                    <a:gd name="T3" fmla="*/ 2147483647 h 35"/>
                    <a:gd name="T4" fmla="*/ 2147483647 w 18"/>
                    <a:gd name="T5" fmla="*/ 2147483647 h 35"/>
                    <a:gd name="T6" fmla="*/ 2147483647 w 18"/>
                    <a:gd name="T7" fmla="*/ 0 h 35"/>
                    <a:gd name="T8" fmla="*/ 0 w 18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35"/>
                    <a:gd name="T17" fmla="*/ 18 w 18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35">
                      <a:moveTo>
                        <a:pt x="0" y="9"/>
                      </a:moveTo>
                      <a:lnTo>
                        <a:pt x="0" y="26"/>
                      </a:lnTo>
                      <a:lnTo>
                        <a:pt x="18" y="3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4" name="Freeform 504"/>
                <p:cNvSpPr>
                  <a:spLocks/>
                </p:cNvSpPr>
                <p:nvPr/>
              </p:nvSpPr>
              <p:spPr bwMode="auto">
                <a:xfrm>
                  <a:off x="4931933" y="2147164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5" name="Freeform 505"/>
                <p:cNvSpPr>
                  <a:spLocks/>
                </p:cNvSpPr>
                <p:nvPr/>
              </p:nvSpPr>
              <p:spPr bwMode="auto">
                <a:xfrm>
                  <a:off x="4931932" y="2147166"/>
                  <a:ext cx="65349" cy="83528"/>
                </a:xfrm>
                <a:custGeom>
                  <a:avLst/>
                  <a:gdLst>
                    <a:gd name="T0" fmla="*/ 0 w 61"/>
                    <a:gd name="T1" fmla="*/ 2147483647 h 78"/>
                    <a:gd name="T2" fmla="*/ 0 w 61"/>
                    <a:gd name="T3" fmla="*/ 2147483647 h 78"/>
                    <a:gd name="T4" fmla="*/ 2147483647 w 61"/>
                    <a:gd name="T5" fmla="*/ 2147483647 h 78"/>
                    <a:gd name="T6" fmla="*/ 2147483647 w 61"/>
                    <a:gd name="T7" fmla="*/ 2147483647 h 78"/>
                    <a:gd name="T8" fmla="*/ 2147483647 w 61"/>
                    <a:gd name="T9" fmla="*/ 2147483647 h 78"/>
                    <a:gd name="T10" fmla="*/ 2147483647 w 61"/>
                    <a:gd name="T11" fmla="*/ 2147483647 h 78"/>
                    <a:gd name="T12" fmla="*/ 2147483647 w 61"/>
                    <a:gd name="T13" fmla="*/ 2147483647 h 78"/>
                    <a:gd name="T14" fmla="*/ 2147483647 w 61"/>
                    <a:gd name="T15" fmla="*/ 0 h 78"/>
                    <a:gd name="T16" fmla="*/ 2147483647 w 61"/>
                    <a:gd name="T17" fmla="*/ 2147483647 h 78"/>
                    <a:gd name="T18" fmla="*/ 0 w 61"/>
                    <a:gd name="T19" fmla="*/ 2147483647 h 7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78"/>
                    <a:gd name="T32" fmla="*/ 61 w 61"/>
                    <a:gd name="T33" fmla="*/ 78 h 7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78">
                      <a:moveTo>
                        <a:pt x="0" y="9"/>
                      </a:moveTo>
                      <a:lnTo>
                        <a:pt x="0" y="70"/>
                      </a:lnTo>
                      <a:lnTo>
                        <a:pt x="17" y="78"/>
                      </a:lnTo>
                      <a:lnTo>
                        <a:pt x="34" y="52"/>
                      </a:lnTo>
                      <a:lnTo>
                        <a:pt x="34" y="44"/>
                      </a:lnTo>
                      <a:lnTo>
                        <a:pt x="34" y="26"/>
                      </a:lnTo>
                      <a:lnTo>
                        <a:pt x="61" y="17"/>
                      </a:lnTo>
                      <a:lnTo>
                        <a:pt x="52" y="0"/>
                      </a:lnTo>
                      <a:lnTo>
                        <a:pt x="17" y="1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6" name="Freeform 506"/>
                <p:cNvSpPr>
                  <a:spLocks/>
                </p:cNvSpPr>
                <p:nvPr/>
              </p:nvSpPr>
              <p:spPr bwMode="auto">
                <a:xfrm>
                  <a:off x="4903019" y="2137529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7" name="Freeform 507"/>
                <p:cNvSpPr>
                  <a:spLocks/>
                </p:cNvSpPr>
                <p:nvPr/>
              </p:nvSpPr>
              <p:spPr bwMode="auto">
                <a:xfrm>
                  <a:off x="4903034" y="2137535"/>
                  <a:ext cx="28925" cy="84600"/>
                </a:xfrm>
                <a:custGeom>
                  <a:avLst/>
                  <a:gdLst>
                    <a:gd name="T0" fmla="*/ 2147483647 w 27"/>
                    <a:gd name="T1" fmla="*/ 0 h 79"/>
                    <a:gd name="T2" fmla="*/ 0 w 27"/>
                    <a:gd name="T3" fmla="*/ 2147483647 h 79"/>
                    <a:gd name="T4" fmla="*/ 2147483647 w 27"/>
                    <a:gd name="T5" fmla="*/ 2147483647 h 79"/>
                    <a:gd name="T6" fmla="*/ 2147483647 w 27"/>
                    <a:gd name="T7" fmla="*/ 2147483647 h 79"/>
                    <a:gd name="T8" fmla="*/ 2147483647 w 27"/>
                    <a:gd name="T9" fmla="*/ 2147483647 h 79"/>
                    <a:gd name="T10" fmla="*/ 2147483647 w 27"/>
                    <a:gd name="T11" fmla="*/ 0 h 7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79"/>
                    <a:gd name="T20" fmla="*/ 27 w 27"/>
                    <a:gd name="T21" fmla="*/ 79 h 7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79">
                      <a:moveTo>
                        <a:pt x="9" y="0"/>
                      </a:moveTo>
                      <a:lnTo>
                        <a:pt x="0" y="35"/>
                      </a:lnTo>
                      <a:lnTo>
                        <a:pt x="27" y="79"/>
                      </a:lnTo>
                      <a:lnTo>
                        <a:pt x="27" y="18"/>
                      </a:lnTo>
                      <a:lnTo>
                        <a:pt x="27" y="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8" name="Freeform 508"/>
                <p:cNvSpPr>
                  <a:spLocks/>
                </p:cNvSpPr>
                <p:nvPr/>
              </p:nvSpPr>
              <p:spPr bwMode="auto">
                <a:xfrm>
                  <a:off x="4912708" y="2119319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sp>
              <p:nvSpPr>
                <p:cNvPr id="499" name="Freeform 509"/>
                <p:cNvSpPr>
                  <a:spLocks/>
                </p:cNvSpPr>
                <p:nvPr/>
              </p:nvSpPr>
              <p:spPr bwMode="auto">
                <a:xfrm>
                  <a:off x="4912735" y="2119331"/>
                  <a:ext cx="37495" cy="27842"/>
                </a:xfrm>
                <a:custGeom>
                  <a:avLst/>
                  <a:gdLst>
                    <a:gd name="T0" fmla="*/ 0 w 35"/>
                    <a:gd name="T1" fmla="*/ 2147483647 h 26"/>
                    <a:gd name="T2" fmla="*/ 2147483647 w 35"/>
                    <a:gd name="T3" fmla="*/ 2147483647 h 26"/>
                    <a:gd name="T4" fmla="*/ 2147483647 w 35"/>
                    <a:gd name="T5" fmla="*/ 2147483647 h 26"/>
                    <a:gd name="T6" fmla="*/ 2147483647 w 35"/>
                    <a:gd name="T7" fmla="*/ 0 h 26"/>
                    <a:gd name="T8" fmla="*/ 2147483647 w 35"/>
                    <a:gd name="T9" fmla="*/ 0 h 26"/>
                    <a:gd name="T10" fmla="*/ 0 w 35"/>
                    <a:gd name="T11" fmla="*/ 2147483647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26"/>
                    <a:gd name="T20" fmla="*/ 35 w 35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26">
                      <a:moveTo>
                        <a:pt x="0" y="17"/>
                      </a:moveTo>
                      <a:lnTo>
                        <a:pt x="18" y="26"/>
                      </a:lnTo>
                      <a:lnTo>
                        <a:pt x="35" y="8"/>
                      </a:lnTo>
                      <a:lnTo>
                        <a:pt x="35" y="0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9" name="Freeform 510"/>
              <p:cNvSpPr>
                <a:spLocks/>
              </p:cNvSpPr>
              <p:nvPr/>
            </p:nvSpPr>
            <p:spPr bwMode="auto">
              <a:xfrm>
                <a:off x="3829600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0" name="Freeform 511"/>
              <p:cNvSpPr>
                <a:spLocks/>
              </p:cNvSpPr>
              <p:nvPr/>
            </p:nvSpPr>
            <p:spPr bwMode="auto">
              <a:xfrm>
                <a:off x="3829601" y="2473765"/>
                <a:ext cx="18212" cy="9638"/>
              </a:xfrm>
              <a:custGeom>
                <a:avLst/>
                <a:gdLst>
                  <a:gd name="T0" fmla="*/ 2147483647 w 17"/>
                  <a:gd name="T1" fmla="*/ 0 h 9"/>
                  <a:gd name="T2" fmla="*/ 2147483647 w 17"/>
                  <a:gd name="T3" fmla="*/ 0 h 9"/>
                  <a:gd name="T4" fmla="*/ 0 w 17"/>
                  <a:gd name="T5" fmla="*/ 0 h 9"/>
                  <a:gd name="T6" fmla="*/ 2147483647 w 17"/>
                  <a:gd name="T7" fmla="*/ 2147483647 h 9"/>
                  <a:gd name="T8" fmla="*/ 2147483647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1" name="Freeform 512"/>
              <p:cNvSpPr>
                <a:spLocks/>
              </p:cNvSpPr>
              <p:nvPr/>
            </p:nvSpPr>
            <p:spPr bwMode="auto">
              <a:xfrm>
                <a:off x="3847814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2" name="Freeform 513"/>
              <p:cNvSpPr>
                <a:spLocks/>
              </p:cNvSpPr>
              <p:nvPr/>
            </p:nvSpPr>
            <p:spPr bwMode="auto">
              <a:xfrm>
                <a:off x="3847815" y="2483403"/>
                <a:ext cx="19283" cy="0"/>
              </a:xfrm>
              <a:custGeom>
                <a:avLst/>
                <a:gdLst>
                  <a:gd name="T0" fmla="*/ 2147483647 w 18"/>
                  <a:gd name="T1" fmla="*/ 2147483647 w 18"/>
                  <a:gd name="T2" fmla="*/ 0 w 18"/>
                  <a:gd name="T3" fmla="*/ 2147483647 w 18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18"/>
                  <a:gd name="T9" fmla="*/ 18 w 18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18">
                    <a:moveTo>
                      <a:pt x="9" y="0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3" name="Freeform 514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4" name="Freeform 515"/>
              <p:cNvSpPr>
                <a:spLocks/>
              </p:cNvSpPr>
              <p:nvPr/>
            </p:nvSpPr>
            <p:spPr bwMode="auto">
              <a:xfrm>
                <a:off x="3847816" y="2511244"/>
                <a:ext cx="9642" cy="9638"/>
              </a:xfrm>
              <a:custGeom>
                <a:avLst/>
                <a:gdLst>
                  <a:gd name="T0" fmla="*/ 2147483647 w 9"/>
                  <a:gd name="T1" fmla="*/ 2147483647 h 9"/>
                  <a:gd name="T2" fmla="*/ 2147483647 w 9"/>
                  <a:gd name="T3" fmla="*/ 0 h 9"/>
                  <a:gd name="T4" fmla="*/ 2147483647 w 9"/>
                  <a:gd name="T5" fmla="*/ 0 h 9"/>
                  <a:gd name="T6" fmla="*/ 0 w 9"/>
                  <a:gd name="T7" fmla="*/ 2147483647 h 9"/>
                  <a:gd name="T8" fmla="*/ 2147483647 w 9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5" name="Freeform 519"/>
              <p:cNvSpPr>
                <a:spLocks/>
              </p:cNvSpPr>
              <p:nvPr/>
            </p:nvSpPr>
            <p:spPr bwMode="auto">
              <a:xfrm>
                <a:off x="4950170" y="2436284"/>
                <a:ext cx="149980" cy="158488"/>
              </a:xfrm>
              <a:custGeom>
                <a:avLst/>
                <a:gdLst>
                  <a:gd name="T0" fmla="*/ 2147483647 w 140"/>
                  <a:gd name="T1" fmla="*/ 0 h 148"/>
                  <a:gd name="T2" fmla="*/ 2147483647 w 140"/>
                  <a:gd name="T3" fmla="*/ 2147483647 h 148"/>
                  <a:gd name="T4" fmla="*/ 0 w 140"/>
                  <a:gd name="T5" fmla="*/ 2147483647 h 148"/>
                  <a:gd name="T6" fmla="*/ 2147483647 w 140"/>
                  <a:gd name="T7" fmla="*/ 2147483647 h 148"/>
                  <a:gd name="T8" fmla="*/ 2147483647 w 140"/>
                  <a:gd name="T9" fmla="*/ 2147483647 h 148"/>
                  <a:gd name="T10" fmla="*/ 2147483647 w 140"/>
                  <a:gd name="T11" fmla="*/ 2147483647 h 148"/>
                  <a:gd name="T12" fmla="*/ 2147483647 w 140"/>
                  <a:gd name="T13" fmla="*/ 2147483647 h 148"/>
                  <a:gd name="T14" fmla="*/ 2147483647 w 140"/>
                  <a:gd name="T15" fmla="*/ 2147483647 h 148"/>
                  <a:gd name="T16" fmla="*/ 2147483647 w 140"/>
                  <a:gd name="T17" fmla="*/ 0 h 1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0"/>
                  <a:gd name="T28" fmla="*/ 0 h 148"/>
                  <a:gd name="T29" fmla="*/ 140 w 140"/>
                  <a:gd name="T30" fmla="*/ 148 h 1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0" h="148">
                    <a:moveTo>
                      <a:pt x="70" y="0"/>
                    </a:moveTo>
                    <a:lnTo>
                      <a:pt x="9" y="26"/>
                    </a:lnTo>
                    <a:lnTo>
                      <a:pt x="0" y="87"/>
                    </a:lnTo>
                    <a:lnTo>
                      <a:pt x="61" y="87"/>
                    </a:lnTo>
                    <a:lnTo>
                      <a:pt x="105" y="113"/>
                    </a:lnTo>
                    <a:lnTo>
                      <a:pt x="96" y="140"/>
                    </a:lnTo>
                    <a:lnTo>
                      <a:pt x="140" y="148"/>
                    </a:lnTo>
                    <a:lnTo>
                      <a:pt x="78" y="61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6" name="Freeform 530"/>
              <p:cNvSpPr>
                <a:spLocks/>
              </p:cNvSpPr>
              <p:nvPr/>
            </p:nvSpPr>
            <p:spPr bwMode="auto">
              <a:xfrm>
                <a:off x="4706988" y="2352757"/>
                <a:ext cx="298890" cy="372662"/>
              </a:xfrm>
              <a:custGeom>
                <a:avLst/>
                <a:gdLst>
                  <a:gd name="T0" fmla="*/ 2147483647 w 279"/>
                  <a:gd name="T1" fmla="*/ 2147483647 h 348"/>
                  <a:gd name="T2" fmla="*/ 2147483647 w 279"/>
                  <a:gd name="T3" fmla="*/ 2147483647 h 348"/>
                  <a:gd name="T4" fmla="*/ 2147483647 w 279"/>
                  <a:gd name="T5" fmla="*/ 2147483647 h 348"/>
                  <a:gd name="T6" fmla="*/ 2147483647 w 279"/>
                  <a:gd name="T7" fmla="*/ 2147483647 h 348"/>
                  <a:gd name="T8" fmla="*/ 0 w 279"/>
                  <a:gd name="T9" fmla="*/ 2147483647 h 348"/>
                  <a:gd name="T10" fmla="*/ 2147483647 w 279"/>
                  <a:gd name="T11" fmla="*/ 2147483647 h 348"/>
                  <a:gd name="T12" fmla="*/ 2147483647 w 279"/>
                  <a:gd name="T13" fmla="*/ 2147483647 h 348"/>
                  <a:gd name="T14" fmla="*/ 2147483647 w 279"/>
                  <a:gd name="T15" fmla="*/ 2147483647 h 348"/>
                  <a:gd name="T16" fmla="*/ 2147483647 w 279"/>
                  <a:gd name="T17" fmla="*/ 2147483647 h 348"/>
                  <a:gd name="T18" fmla="*/ 2147483647 w 279"/>
                  <a:gd name="T19" fmla="*/ 2147483647 h 348"/>
                  <a:gd name="T20" fmla="*/ 2147483647 w 279"/>
                  <a:gd name="T21" fmla="*/ 2147483647 h 348"/>
                  <a:gd name="T22" fmla="*/ 2147483647 w 279"/>
                  <a:gd name="T23" fmla="*/ 2147483647 h 348"/>
                  <a:gd name="T24" fmla="*/ 2147483647 w 279"/>
                  <a:gd name="T25" fmla="*/ 2147483647 h 348"/>
                  <a:gd name="T26" fmla="*/ 2147483647 w 279"/>
                  <a:gd name="T27" fmla="*/ 2147483647 h 348"/>
                  <a:gd name="T28" fmla="*/ 2147483647 w 279"/>
                  <a:gd name="T29" fmla="*/ 2147483647 h 348"/>
                  <a:gd name="T30" fmla="*/ 2147483647 w 279"/>
                  <a:gd name="T31" fmla="*/ 2147483647 h 348"/>
                  <a:gd name="T32" fmla="*/ 2147483647 w 279"/>
                  <a:gd name="T33" fmla="*/ 2147483647 h 348"/>
                  <a:gd name="T34" fmla="*/ 2147483647 w 279"/>
                  <a:gd name="T35" fmla="*/ 2147483647 h 348"/>
                  <a:gd name="T36" fmla="*/ 2147483647 w 279"/>
                  <a:gd name="T37" fmla="*/ 2147483647 h 348"/>
                  <a:gd name="T38" fmla="*/ 2147483647 w 279"/>
                  <a:gd name="T39" fmla="*/ 2147483647 h 348"/>
                  <a:gd name="T40" fmla="*/ 2147483647 w 279"/>
                  <a:gd name="T41" fmla="*/ 2147483647 h 348"/>
                  <a:gd name="T42" fmla="*/ 2147483647 w 279"/>
                  <a:gd name="T43" fmla="*/ 2147483647 h 348"/>
                  <a:gd name="T44" fmla="*/ 2147483647 w 279"/>
                  <a:gd name="T45" fmla="*/ 2147483647 h 348"/>
                  <a:gd name="T46" fmla="*/ 2147483647 w 279"/>
                  <a:gd name="T47" fmla="*/ 2147483647 h 348"/>
                  <a:gd name="T48" fmla="*/ 2147483647 w 279"/>
                  <a:gd name="T49" fmla="*/ 2147483647 h 348"/>
                  <a:gd name="T50" fmla="*/ 2147483647 w 279"/>
                  <a:gd name="T51" fmla="*/ 2147483647 h 348"/>
                  <a:gd name="T52" fmla="*/ 2147483647 w 279"/>
                  <a:gd name="T53" fmla="*/ 2147483647 h 348"/>
                  <a:gd name="T54" fmla="*/ 2147483647 w 279"/>
                  <a:gd name="T55" fmla="*/ 0 h 348"/>
                  <a:gd name="T56" fmla="*/ 2147483647 w 279"/>
                  <a:gd name="T57" fmla="*/ 2147483647 h 348"/>
                  <a:gd name="T58" fmla="*/ 2147483647 w 279"/>
                  <a:gd name="T59" fmla="*/ 2147483647 h 348"/>
                  <a:gd name="T60" fmla="*/ 2147483647 w 279"/>
                  <a:gd name="T61" fmla="*/ 2147483647 h 34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9"/>
                  <a:gd name="T94" fmla="*/ 0 h 348"/>
                  <a:gd name="T95" fmla="*/ 279 w 279"/>
                  <a:gd name="T96" fmla="*/ 348 h 34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9" h="348">
                    <a:moveTo>
                      <a:pt x="53" y="43"/>
                    </a:moveTo>
                    <a:lnTo>
                      <a:pt x="35" y="52"/>
                    </a:lnTo>
                    <a:lnTo>
                      <a:pt x="35" y="130"/>
                    </a:lnTo>
                    <a:lnTo>
                      <a:pt x="9" y="157"/>
                    </a:lnTo>
                    <a:lnTo>
                      <a:pt x="0" y="183"/>
                    </a:lnTo>
                    <a:lnTo>
                      <a:pt x="44" y="270"/>
                    </a:lnTo>
                    <a:lnTo>
                      <a:pt x="61" y="270"/>
                    </a:lnTo>
                    <a:lnTo>
                      <a:pt x="96" y="313"/>
                    </a:lnTo>
                    <a:lnTo>
                      <a:pt x="96" y="331"/>
                    </a:lnTo>
                    <a:lnTo>
                      <a:pt x="140" y="331"/>
                    </a:lnTo>
                    <a:lnTo>
                      <a:pt x="166" y="348"/>
                    </a:lnTo>
                    <a:lnTo>
                      <a:pt x="218" y="340"/>
                    </a:lnTo>
                    <a:lnTo>
                      <a:pt x="218" y="331"/>
                    </a:lnTo>
                    <a:lnTo>
                      <a:pt x="244" y="331"/>
                    </a:lnTo>
                    <a:lnTo>
                      <a:pt x="236" y="313"/>
                    </a:lnTo>
                    <a:lnTo>
                      <a:pt x="227" y="305"/>
                    </a:lnTo>
                    <a:lnTo>
                      <a:pt x="192" y="279"/>
                    </a:lnTo>
                    <a:lnTo>
                      <a:pt x="183" y="279"/>
                    </a:lnTo>
                    <a:lnTo>
                      <a:pt x="183" y="261"/>
                    </a:lnTo>
                    <a:lnTo>
                      <a:pt x="192" y="261"/>
                    </a:lnTo>
                    <a:lnTo>
                      <a:pt x="201" y="218"/>
                    </a:lnTo>
                    <a:lnTo>
                      <a:pt x="210" y="218"/>
                    </a:lnTo>
                    <a:lnTo>
                      <a:pt x="236" y="165"/>
                    </a:lnTo>
                    <a:lnTo>
                      <a:pt x="244" y="104"/>
                    </a:lnTo>
                    <a:lnTo>
                      <a:pt x="279" y="87"/>
                    </a:lnTo>
                    <a:lnTo>
                      <a:pt x="253" y="61"/>
                    </a:lnTo>
                    <a:lnTo>
                      <a:pt x="244" y="8"/>
                    </a:lnTo>
                    <a:lnTo>
                      <a:pt x="218" y="0"/>
                    </a:lnTo>
                    <a:lnTo>
                      <a:pt x="201" y="17"/>
                    </a:lnTo>
                    <a:lnTo>
                      <a:pt x="53" y="17"/>
                    </a:lnTo>
                    <a:lnTo>
                      <a:pt x="53" y="43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7" name="Freeform 532"/>
              <p:cNvSpPr>
                <a:spLocks/>
              </p:cNvSpPr>
              <p:nvPr/>
            </p:nvSpPr>
            <p:spPr bwMode="auto">
              <a:xfrm>
                <a:off x="4744483" y="2174994"/>
                <a:ext cx="196046" cy="195969"/>
              </a:xfrm>
              <a:custGeom>
                <a:avLst/>
                <a:gdLst>
                  <a:gd name="T0" fmla="*/ 2147483647 w 183"/>
                  <a:gd name="T1" fmla="*/ 2147483647 h 183"/>
                  <a:gd name="T2" fmla="*/ 2147483647 w 183"/>
                  <a:gd name="T3" fmla="*/ 2147483647 h 183"/>
                  <a:gd name="T4" fmla="*/ 2147483647 w 183"/>
                  <a:gd name="T5" fmla="*/ 2147483647 h 183"/>
                  <a:gd name="T6" fmla="*/ 2147483647 w 183"/>
                  <a:gd name="T7" fmla="*/ 2147483647 h 183"/>
                  <a:gd name="T8" fmla="*/ 2147483647 w 183"/>
                  <a:gd name="T9" fmla="*/ 2147483647 h 183"/>
                  <a:gd name="T10" fmla="*/ 2147483647 w 183"/>
                  <a:gd name="T11" fmla="*/ 2147483647 h 183"/>
                  <a:gd name="T12" fmla="*/ 2147483647 w 183"/>
                  <a:gd name="T13" fmla="*/ 0 h 183"/>
                  <a:gd name="T14" fmla="*/ 2147483647 w 183"/>
                  <a:gd name="T15" fmla="*/ 2147483647 h 183"/>
                  <a:gd name="T16" fmla="*/ 2147483647 w 183"/>
                  <a:gd name="T17" fmla="*/ 2147483647 h 183"/>
                  <a:gd name="T18" fmla="*/ 2147483647 w 183"/>
                  <a:gd name="T19" fmla="*/ 2147483647 h 183"/>
                  <a:gd name="T20" fmla="*/ 2147483647 w 183"/>
                  <a:gd name="T21" fmla="*/ 0 h 183"/>
                  <a:gd name="T22" fmla="*/ 0 w 183"/>
                  <a:gd name="T23" fmla="*/ 0 h 183"/>
                  <a:gd name="T24" fmla="*/ 2147483647 w 183"/>
                  <a:gd name="T25" fmla="*/ 2147483647 h 183"/>
                  <a:gd name="T26" fmla="*/ 0 w 183"/>
                  <a:gd name="T27" fmla="*/ 2147483647 h 183"/>
                  <a:gd name="T28" fmla="*/ 2147483647 w 183"/>
                  <a:gd name="T29" fmla="*/ 2147483647 h 183"/>
                  <a:gd name="T30" fmla="*/ 2147483647 w 183"/>
                  <a:gd name="T31" fmla="*/ 2147483647 h 183"/>
                  <a:gd name="T32" fmla="*/ 2147483647 w 183"/>
                  <a:gd name="T33" fmla="*/ 2147483647 h 183"/>
                  <a:gd name="T34" fmla="*/ 2147483647 w 183"/>
                  <a:gd name="T35" fmla="*/ 2147483647 h 183"/>
                  <a:gd name="T36" fmla="*/ 2147483647 w 183"/>
                  <a:gd name="T37" fmla="*/ 2147483647 h 183"/>
                  <a:gd name="T38" fmla="*/ 2147483647 w 183"/>
                  <a:gd name="T39" fmla="*/ 2147483647 h 183"/>
                  <a:gd name="T40" fmla="*/ 2147483647 w 183"/>
                  <a:gd name="T41" fmla="*/ 2147483647 h 183"/>
                  <a:gd name="T42" fmla="*/ 2147483647 w 183"/>
                  <a:gd name="T43" fmla="*/ 2147483647 h 18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83"/>
                  <a:gd name="T67" fmla="*/ 0 h 183"/>
                  <a:gd name="T68" fmla="*/ 183 w 183"/>
                  <a:gd name="T69" fmla="*/ 183 h 18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83" h="183">
                    <a:moveTo>
                      <a:pt x="131" y="52"/>
                    </a:moveTo>
                    <a:lnTo>
                      <a:pt x="122" y="26"/>
                    </a:lnTo>
                    <a:lnTo>
                      <a:pt x="131" y="52"/>
                    </a:lnTo>
                    <a:lnTo>
                      <a:pt x="140" y="52"/>
                    </a:lnTo>
                    <a:lnTo>
                      <a:pt x="157" y="70"/>
                    </a:lnTo>
                    <a:lnTo>
                      <a:pt x="175" y="44"/>
                    </a:lnTo>
                    <a:lnTo>
                      <a:pt x="148" y="0"/>
                    </a:lnTo>
                    <a:lnTo>
                      <a:pt x="122" y="9"/>
                    </a:lnTo>
                    <a:lnTo>
                      <a:pt x="96" y="9"/>
                    </a:lnTo>
                    <a:lnTo>
                      <a:pt x="52" y="18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9" y="26"/>
                    </a:lnTo>
                    <a:lnTo>
                      <a:pt x="0" y="26"/>
                    </a:lnTo>
                    <a:lnTo>
                      <a:pt x="18" y="52"/>
                    </a:lnTo>
                    <a:lnTo>
                      <a:pt x="18" y="183"/>
                    </a:lnTo>
                    <a:lnTo>
                      <a:pt x="166" y="183"/>
                    </a:lnTo>
                    <a:lnTo>
                      <a:pt x="183" y="166"/>
                    </a:lnTo>
                    <a:lnTo>
                      <a:pt x="183" y="140"/>
                    </a:lnTo>
                    <a:lnTo>
                      <a:pt x="157" y="113"/>
                    </a:lnTo>
                    <a:lnTo>
                      <a:pt x="148" y="79"/>
                    </a:lnTo>
                    <a:lnTo>
                      <a:pt x="131" y="52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sp>
            <p:nvSpPr>
              <p:cNvPr id="38" name="Freeform 586"/>
              <p:cNvSpPr>
                <a:spLocks/>
              </p:cNvSpPr>
              <p:nvPr/>
            </p:nvSpPr>
            <p:spPr bwMode="auto">
              <a:xfrm>
                <a:off x="4081355" y="2100033"/>
                <a:ext cx="223900" cy="159559"/>
              </a:xfrm>
              <a:custGeom>
                <a:avLst/>
                <a:gdLst>
                  <a:gd name="T0" fmla="*/ 2147483647 w 209"/>
                  <a:gd name="T1" fmla="*/ 2147483647 h 149"/>
                  <a:gd name="T2" fmla="*/ 2147483647 w 209"/>
                  <a:gd name="T3" fmla="*/ 0 h 149"/>
                  <a:gd name="T4" fmla="*/ 2147483647 w 209"/>
                  <a:gd name="T5" fmla="*/ 0 h 149"/>
                  <a:gd name="T6" fmla="*/ 2147483647 w 209"/>
                  <a:gd name="T7" fmla="*/ 0 h 149"/>
                  <a:gd name="T8" fmla="*/ 2147483647 w 209"/>
                  <a:gd name="T9" fmla="*/ 2147483647 h 149"/>
                  <a:gd name="T10" fmla="*/ 2147483647 w 209"/>
                  <a:gd name="T11" fmla="*/ 2147483647 h 149"/>
                  <a:gd name="T12" fmla="*/ 2147483647 w 209"/>
                  <a:gd name="T13" fmla="*/ 2147483647 h 149"/>
                  <a:gd name="T14" fmla="*/ 2147483647 w 209"/>
                  <a:gd name="T15" fmla="*/ 2147483647 h 149"/>
                  <a:gd name="T16" fmla="*/ 2147483647 w 209"/>
                  <a:gd name="T17" fmla="*/ 2147483647 h 149"/>
                  <a:gd name="T18" fmla="*/ 2147483647 w 209"/>
                  <a:gd name="T19" fmla="*/ 2147483647 h 149"/>
                  <a:gd name="T20" fmla="*/ 2147483647 w 209"/>
                  <a:gd name="T21" fmla="*/ 2147483647 h 149"/>
                  <a:gd name="T22" fmla="*/ 0 w 209"/>
                  <a:gd name="T23" fmla="*/ 2147483647 h 149"/>
                  <a:gd name="T24" fmla="*/ 2147483647 w 209"/>
                  <a:gd name="T25" fmla="*/ 2147483647 h 149"/>
                  <a:gd name="T26" fmla="*/ 2147483647 w 209"/>
                  <a:gd name="T27" fmla="*/ 2147483647 h 149"/>
                  <a:gd name="T28" fmla="*/ 2147483647 w 209"/>
                  <a:gd name="T29" fmla="*/ 2147483647 h 149"/>
                  <a:gd name="T30" fmla="*/ 2147483647 w 209"/>
                  <a:gd name="T31" fmla="*/ 2147483647 h 149"/>
                  <a:gd name="T32" fmla="*/ 2147483647 w 209"/>
                  <a:gd name="T33" fmla="*/ 2147483647 h 149"/>
                  <a:gd name="T34" fmla="*/ 2147483647 w 209"/>
                  <a:gd name="T35" fmla="*/ 2147483647 h 149"/>
                  <a:gd name="T36" fmla="*/ 2147483647 w 209"/>
                  <a:gd name="T37" fmla="*/ 2147483647 h 149"/>
                  <a:gd name="T38" fmla="*/ 2147483647 w 209"/>
                  <a:gd name="T39" fmla="*/ 2147483647 h 149"/>
                  <a:gd name="T40" fmla="*/ 2147483647 w 209"/>
                  <a:gd name="T41" fmla="*/ 2147483647 h 149"/>
                  <a:gd name="T42" fmla="*/ 2147483647 w 209"/>
                  <a:gd name="T43" fmla="*/ 2147483647 h 14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09"/>
                  <a:gd name="T67" fmla="*/ 0 h 149"/>
                  <a:gd name="T68" fmla="*/ 209 w 209"/>
                  <a:gd name="T69" fmla="*/ 149 h 14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09" h="149">
                    <a:moveTo>
                      <a:pt x="183" y="18"/>
                    </a:moveTo>
                    <a:lnTo>
                      <a:pt x="183" y="0"/>
                    </a:lnTo>
                    <a:lnTo>
                      <a:pt x="131" y="0"/>
                    </a:lnTo>
                    <a:lnTo>
                      <a:pt x="105" y="44"/>
                    </a:lnTo>
                    <a:lnTo>
                      <a:pt x="79" y="44"/>
                    </a:lnTo>
                    <a:lnTo>
                      <a:pt x="61" y="53"/>
                    </a:lnTo>
                    <a:lnTo>
                      <a:pt x="61" y="114"/>
                    </a:lnTo>
                    <a:lnTo>
                      <a:pt x="35" y="131"/>
                    </a:lnTo>
                    <a:lnTo>
                      <a:pt x="35" y="140"/>
                    </a:lnTo>
                    <a:lnTo>
                      <a:pt x="0" y="149"/>
                    </a:lnTo>
                    <a:lnTo>
                      <a:pt x="79" y="149"/>
                    </a:lnTo>
                    <a:lnTo>
                      <a:pt x="79" y="131"/>
                    </a:lnTo>
                    <a:lnTo>
                      <a:pt x="105" y="114"/>
                    </a:lnTo>
                    <a:lnTo>
                      <a:pt x="131" y="114"/>
                    </a:lnTo>
                    <a:lnTo>
                      <a:pt x="183" y="61"/>
                    </a:lnTo>
                    <a:lnTo>
                      <a:pt x="209" y="70"/>
                    </a:lnTo>
                    <a:lnTo>
                      <a:pt x="209" y="53"/>
                    </a:lnTo>
                    <a:lnTo>
                      <a:pt x="201" y="53"/>
                    </a:lnTo>
                    <a:lnTo>
                      <a:pt x="201" y="18"/>
                    </a:lnTo>
                    <a:lnTo>
                      <a:pt x="183" y="18"/>
                    </a:lnTo>
                    <a:close/>
                  </a:path>
                </a:pathLst>
              </a:custGeom>
              <a:grpFill/>
              <a:ln w="14288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124191"/>
                  </a:solidFill>
                  <a:latin typeface="Nokia Pure Text Light"/>
                </a:endParaRPr>
              </a:p>
            </p:txBody>
          </p:sp>
          <p:grpSp>
            <p:nvGrpSpPr>
              <p:cNvPr id="39" name="Group 355"/>
              <p:cNvGrpSpPr>
                <a:grpSpLocks/>
              </p:cNvGrpSpPr>
              <p:nvPr/>
            </p:nvGrpSpPr>
            <p:grpSpPr bwMode="auto">
              <a:xfrm>
                <a:off x="3867100" y="2062554"/>
                <a:ext cx="1447311" cy="1410330"/>
                <a:chOff x="3684589" y="2817813"/>
                <a:chExt cx="2144713" cy="2090738"/>
              </a:xfrm>
              <a:grpFill/>
            </p:grpSpPr>
            <p:sp>
              <p:nvSpPr>
                <p:cNvPr id="40" name="Freeform 528"/>
                <p:cNvSpPr>
                  <a:spLocks/>
                </p:cNvSpPr>
                <p:nvPr/>
              </p:nvSpPr>
              <p:spPr bwMode="auto">
                <a:xfrm>
                  <a:off x="5219701" y="3497263"/>
                  <a:ext cx="415925" cy="303213"/>
                </a:xfrm>
                <a:custGeom>
                  <a:avLst/>
                  <a:gdLst>
                    <a:gd name="T0" fmla="*/ 0 w 262"/>
                    <a:gd name="T1" fmla="*/ 2147483647 h 191"/>
                    <a:gd name="T2" fmla="*/ 0 w 262"/>
                    <a:gd name="T3" fmla="*/ 2147483647 h 191"/>
                    <a:gd name="T4" fmla="*/ 2147483647 w 262"/>
                    <a:gd name="T5" fmla="*/ 2147483647 h 191"/>
                    <a:gd name="T6" fmla="*/ 2147483647 w 262"/>
                    <a:gd name="T7" fmla="*/ 2147483647 h 191"/>
                    <a:gd name="T8" fmla="*/ 2147483647 w 262"/>
                    <a:gd name="T9" fmla="*/ 2147483647 h 191"/>
                    <a:gd name="T10" fmla="*/ 2147483647 w 262"/>
                    <a:gd name="T11" fmla="*/ 2147483647 h 191"/>
                    <a:gd name="T12" fmla="*/ 2147483647 w 262"/>
                    <a:gd name="T13" fmla="*/ 2147483647 h 191"/>
                    <a:gd name="T14" fmla="*/ 2147483647 w 262"/>
                    <a:gd name="T15" fmla="*/ 2147483647 h 191"/>
                    <a:gd name="T16" fmla="*/ 2147483647 w 262"/>
                    <a:gd name="T17" fmla="*/ 2147483647 h 191"/>
                    <a:gd name="T18" fmla="*/ 2147483647 w 262"/>
                    <a:gd name="T19" fmla="*/ 2147483647 h 191"/>
                    <a:gd name="T20" fmla="*/ 2147483647 w 262"/>
                    <a:gd name="T21" fmla="*/ 2147483647 h 191"/>
                    <a:gd name="T22" fmla="*/ 2147483647 w 262"/>
                    <a:gd name="T23" fmla="*/ 2147483647 h 191"/>
                    <a:gd name="T24" fmla="*/ 2147483647 w 262"/>
                    <a:gd name="T25" fmla="*/ 2147483647 h 191"/>
                    <a:gd name="T26" fmla="*/ 2147483647 w 262"/>
                    <a:gd name="T27" fmla="*/ 2147483647 h 191"/>
                    <a:gd name="T28" fmla="*/ 2147483647 w 262"/>
                    <a:gd name="T29" fmla="*/ 2147483647 h 191"/>
                    <a:gd name="T30" fmla="*/ 2147483647 w 262"/>
                    <a:gd name="T31" fmla="*/ 2147483647 h 191"/>
                    <a:gd name="T32" fmla="*/ 2147483647 w 262"/>
                    <a:gd name="T33" fmla="*/ 2147483647 h 191"/>
                    <a:gd name="T34" fmla="*/ 2147483647 w 262"/>
                    <a:gd name="T35" fmla="*/ 0 h 191"/>
                    <a:gd name="T36" fmla="*/ 2147483647 w 262"/>
                    <a:gd name="T37" fmla="*/ 2147483647 h 191"/>
                    <a:gd name="T38" fmla="*/ 2147483647 w 262"/>
                    <a:gd name="T39" fmla="*/ 2147483647 h 191"/>
                    <a:gd name="T40" fmla="*/ 2147483647 w 262"/>
                    <a:gd name="T41" fmla="*/ 2147483647 h 191"/>
                    <a:gd name="T42" fmla="*/ 2147483647 w 262"/>
                    <a:gd name="T43" fmla="*/ 2147483647 h 191"/>
                    <a:gd name="T44" fmla="*/ 0 w 262"/>
                    <a:gd name="T45" fmla="*/ 2147483647 h 19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62"/>
                    <a:gd name="T70" fmla="*/ 0 h 191"/>
                    <a:gd name="T71" fmla="*/ 262 w 262"/>
                    <a:gd name="T72" fmla="*/ 191 h 19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62" h="191">
                      <a:moveTo>
                        <a:pt x="0" y="104"/>
                      </a:moveTo>
                      <a:lnTo>
                        <a:pt x="0" y="122"/>
                      </a:lnTo>
                      <a:lnTo>
                        <a:pt x="9" y="122"/>
                      </a:lnTo>
                      <a:lnTo>
                        <a:pt x="44" y="148"/>
                      </a:lnTo>
                      <a:lnTo>
                        <a:pt x="53" y="156"/>
                      </a:lnTo>
                      <a:lnTo>
                        <a:pt x="61" y="174"/>
                      </a:lnTo>
                      <a:lnTo>
                        <a:pt x="122" y="191"/>
                      </a:lnTo>
                      <a:lnTo>
                        <a:pt x="149" y="183"/>
                      </a:lnTo>
                      <a:lnTo>
                        <a:pt x="166" y="183"/>
                      </a:lnTo>
                      <a:lnTo>
                        <a:pt x="192" y="165"/>
                      </a:lnTo>
                      <a:lnTo>
                        <a:pt x="210" y="165"/>
                      </a:lnTo>
                      <a:lnTo>
                        <a:pt x="227" y="148"/>
                      </a:lnTo>
                      <a:lnTo>
                        <a:pt x="262" y="113"/>
                      </a:lnTo>
                      <a:lnTo>
                        <a:pt x="184" y="87"/>
                      </a:lnTo>
                      <a:lnTo>
                        <a:pt x="149" y="43"/>
                      </a:lnTo>
                      <a:lnTo>
                        <a:pt x="157" y="26"/>
                      </a:lnTo>
                      <a:lnTo>
                        <a:pt x="140" y="8"/>
                      </a:lnTo>
                      <a:lnTo>
                        <a:pt x="114" y="0"/>
                      </a:lnTo>
                      <a:lnTo>
                        <a:pt x="53" y="8"/>
                      </a:lnTo>
                      <a:lnTo>
                        <a:pt x="27" y="61"/>
                      </a:lnTo>
                      <a:lnTo>
                        <a:pt x="18" y="61"/>
                      </a:lnTo>
                      <a:lnTo>
                        <a:pt x="9" y="104"/>
                      </a:lnTo>
                      <a:lnTo>
                        <a:pt x="0" y="104"/>
                      </a:lnTo>
                      <a:close/>
                    </a:path>
                  </a:pathLst>
                </a:cu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124191"/>
                    </a:solidFill>
                    <a:latin typeface="Nokia Pure Text Light"/>
                  </a:endParaRPr>
                </a:p>
              </p:txBody>
            </p:sp>
            <p:grpSp>
              <p:nvGrpSpPr>
                <p:cNvPr id="41" name="Group 357"/>
                <p:cNvGrpSpPr>
                  <a:grpSpLocks/>
                </p:cNvGrpSpPr>
                <p:nvPr/>
              </p:nvGrpSpPr>
              <p:grpSpPr bwMode="auto">
                <a:xfrm>
                  <a:off x="3684589" y="2817813"/>
                  <a:ext cx="2144713" cy="2090738"/>
                  <a:chOff x="3684589" y="2817813"/>
                  <a:chExt cx="2144713" cy="2090738"/>
                </a:xfrm>
                <a:grpFill/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4943476" y="3524251"/>
                    <a:ext cx="373063" cy="276225"/>
                  </a:xfrm>
                  <a:custGeom>
                    <a:avLst/>
                    <a:gdLst>
                      <a:gd name="T0" fmla="*/ 2147483647 w 235"/>
                      <a:gd name="T1" fmla="*/ 2147483647 h 174"/>
                      <a:gd name="T2" fmla="*/ 2147483647 w 235"/>
                      <a:gd name="T3" fmla="*/ 2147483647 h 174"/>
                      <a:gd name="T4" fmla="*/ 2147483647 w 235"/>
                      <a:gd name="T5" fmla="*/ 2147483647 h 174"/>
                      <a:gd name="T6" fmla="*/ 2147483647 w 235"/>
                      <a:gd name="T7" fmla="*/ 2147483647 h 174"/>
                      <a:gd name="T8" fmla="*/ 2147483647 w 235"/>
                      <a:gd name="T9" fmla="*/ 2147483647 h 174"/>
                      <a:gd name="T10" fmla="*/ 2147483647 w 235"/>
                      <a:gd name="T11" fmla="*/ 2147483647 h 174"/>
                      <a:gd name="T12" fmla="*/ 2147483647 w 235"/>
                      <a:gd name="T13" fmla="*/ 2147483647 h 174"/>
                      <a:gd name="T14" fmla="*/ 2147483647 w 235"/>
                      <a:gd name="T15" fmla="*/ 2147483647 h 174"/>
                      <a:gd name="T16" fmla="*/ 2147483647 w 235"/>
                      <a:gd name="T17" fmla="*/ 2147483647 h 174"/>
                      <a:gd name="T18" fmla="*/ 2147483647 w 235"/>
                      <a:gd name="T19" fmla="*/ 2147483647 h 174"/>
                      <a:gd name="T20" fmla="*/ 2147483647 w 235"/>
                      <a:gd name="T21" fmla="*/ 2147483647 h 174"/>
                      <a:gd name="T22" fmla="*/ 2147483647 w 235"/>
                      <a:gd name="T23" fmla="*/ 2147483647 h 174"/>
                      <a:gd name="T24" fmla="*/ 2147483647 w 235"/>
                      <a:gd name="T25" fmla="*/ 2147483647 h 174"/>
                      <a:gd name="T26" fmla="*/ 2147483647 w 235"/>
                      <a:gd name="T27" fmla="*/ 0 h 174"/>
                      <a:gd name="T28" fmla="*/ 0 w 235"/>
                      <a:gd name="T29" fmla="*/ 2147483647 h 174"/>
                      <a:gd name="T30" fmla="*/ 2147483647 w 235"/>
                      <a:gd name="T31" fmla="*/ 2147483647 h 174"/>
                      <a:gd name="T32" fmla="*/ 2147483647 w 235"/>
                      <a:gd name="T33" fmla="*/ 2147483647 h 174"/>
                      <a:gd name="T34" fmla="*/ 2147483647 w 235"/>
                      <a:gd name="T35" fmla="*/ 2147483647 h 174"/>
                      <a:gd name="T36" fmla="*/ 2147483647 w 235"/>
                      <a:gd name="T37" fmla="*/ 2147483647 h 174"/>
                      <a:gd name="T38" fmla="*/ 2147483647 w 235"/>
                      <a:gd name="T39" fmla="*/ 2147483647 h 174"/>
                      <a:gd name="T40" fmla="*/ 2147483647 w 235"/>
                      <a:gd name="T41" fmla="*/ 2147483647 h 174"/>
                      <a:gd name="T42" fmla="*/ 2147483647 w 235"/>
                      <a:gd name="T43" fmla="*/ 2147483647 h 174"/>
                      <a:gd name="T44" fmla="*/ 2147483647 w 235"/>
                      <a:gd name="T45" fmla="*/ 2147483647 h 174"/>
                      <a:gd name="T46" fmla="*/ 2147483647 w 235"/>
                      <a:gd name="T47" fmla="*/ 2147483647 h 174"/>
                      <a:gd name="T48" fmla="*/ 2147483647 w 235"/>
                      <a:gd name="T49" fmla="*/ 2147483647 h 174"/>
                      <a:gd name="T50" fmla="*/ 2147483647 w 235"/>
                      <a:gd name="T51" fmla="*/ 2147483647 h 174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35"/>
                      <a:gd name="T79" fmla="*/ 0 h 174"/>
                      <a:gd name="T80" fmla="*/ 235 w 235"/>
                      <a:gd name="T81" fmla="*/ 174 h 174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35" h="174">
                        <a:moveTo>
                          <a:pt x="218" y="131"/>
                        </a:moveTo>
                        <a:lnTo>
                          <a:pt x="183" y="105"/>
                        </a:lnTo>
                        <a:lnTo>
                          <a:pt x="174" y="105"/>
                        </a:lnTo>
                        <a:lnTo>
                          <a:pt x="174" y="87"/>
                        </a:lnTo>
                        <a:lnTo>
                          <a:pt x="183" y="87"/>
                        </a:lnTo>
                        <a:lnTo>
                          <a:pt x="192" y="44"/>
                        </a:lnTo>
                        <a:lnTo>
                          <a:pt x="201" y="44"/>
                        </a:lnTo>
                        <a:lnTo>
                          <a:pt x="209" y="35"/>
                        </a:lnTo>
                        <a:lnTo>
                          <a:pt x="201" y="35"/>
                        </a:lnTo>
                        <a:lnTo>
                          <a:pt x="183" y="17"/>
                        </a:lnTo>
                        <a:lnTo>
                          <a:pt x="183" y="9"/>
                        </a:lnTo>
                        <a:lnTo>
                          <a:pt x="174" y="9"/>
                        </a:lnTo>
                        <a:lnTo>
                          <a:pt x="113" y="26"/>
                        </a:lnTo>
                        <a:lnTo>
                          <a:pt x="70" y="0"/>
                        </a:lnTo>
                        <a:lnTo>
                          <a:pt x="0" y="26"/>
                        </a:lnTo>
                        <a:lnTo>
                          <a:pt x="35" y="96"/>
                        </a:lnTo>
                        <a:lnTo>
                          <a:pt x="52" y="96"/>
                        </a:lnTo>
                        <a:lnTo>
                          <a:pt x="87" y="139"/>
                        </a:lnTo>
                        <a:lnTo>
                          <a:pt x="87" y="157"/>
                        </a:lnTo>
                        <a:lnTo>
                          <a:pt x="131" y="157"/>
                        </a:lnTo>
                        <a:lnTo>
                          <a:pt x="157" y="174"/>
                        </a:lnTo>
                        <a:lnTo>
                          <a:pt x="209" y="166"/>
                        </a:lnTo>
                        <a:lnTo>
                          <a:pt x="209" y="157"/>
                        </a:lnTo>
                        <a:lnTo>
                          <a:pt x="235" y="157"/>
                        </a:lnTo>
                        <a:lnTo>
                          <a:pt x="227" y="139"/>
                        </a:lnTo>
                        <a:lnTo>
                          <a:pt x="218" y="13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3" name="Freeform 7"/>
                  <p:cNvSpPr>
                    <a:spLocks/>
                  </p:cNvSpPr>
                  <p:nvPr/>
                </p:nvSpPr>
                <p:spPr bwMode="auto">
                  <a:xfrm>
                    <a:off x="4929189" y="3248027"/>
                    <a:ext cx="442913" cy="317500"/>
                  </a:xfrm>
                  <a:custGeom>
                    <a:avLst/>
                    <a:gdLst>
                      <a:gd name="T0" fmla="*/ 2147483647 w 279"/>
                      <a:gd name="T1" fmla="*/ 2147483647 h 200"/>
                      <a:gd name="T2" fmla="*/ 2147483647 w 279"/>
                      <a:gd name="T3" fmla="*/ 2147483647 h 200"/>
                      <a:gd name="T4" fmla="*/ 2147483647 w 279"/>
                      <a:gd name="T5" fmla="*/ 0 h 200"/>
                      <a:gd name="T6" fmla="*/ 2147483647 w 279"/>
                      <a:gd name="T7" fmla="*/ 2147483647 h 200"/>
                      <a:gd name="T8" fmla="*/ 2147483647 w 279"/>
                      <a:gd name="T9" fmla="*/ 2147483647 h 200"/>
                      <a:gd name="T10" fmla="*/ 2147483647 w 279"/>
                      <a:gd name="T11" fmla="*/ 2147483647 h 200"/>
                      <a:gd name="T12" fmla="*/ 2147483647 w 279"/>
                      <a:gd name="T13" fmla="*/ 2147483647 h 200"/>
                      <a:gd name="T14" fmla="*/ 2147483647 w 279"/>
                      <a:gd name="T15" fmla="*/ 2147483647 h 200"/>
                      <a:gd name="T16" fmla="*/ 2147483647 w 279"/>
                      <a:gd name="T17" fmla="*/ 2147483647 h 200"/>
                      <a:gd name="T18" fmla="*/ 0 w 279"/>
                      <a:gd name="T19" fmla="*/ 2147483647 h 200"/>
                      <a:gd name="T20" fmla="*/ 2147483647 w 279"/>
                      <a:gd name="T21" fmla="*/ 2147483647 h 200"/>
                      <a:gd name="T22" fmla="*/ 2147483647 w 279"/>
                      <a:gd name="T23" fmla="*/ 2147483647 h 200"/>
                      <a:gd name="T24" fmla="*/ 2147483647 w 279"/>
                      <a:gd name="T25" fmla="*/ 2147483647 h 200"/>
                      <a:gd name="T26" fmla="*/ 2147483647 w 279"/>
                      <a:gd name="T27" fmla="*/ 2147483647 h 200"/>
                      <a:gd name="T28" fmla="*/ 2147483647 w 279"/>
                      <a:gd name="T29" fmla="*/ 2147483647 h 200"/>
                      <a:gd name="T30" fmla="*/ 2147483647 w 279"/>
                      <a:gd name="T31" fmla="*/ 2147483647 h 200"/>
                      <a:gd name="T32" fmla="*/ 2147483647 w 279"/>
                      <a:gd name="T33" fmla="*/ 2147483647 h 200"/>
                      <a:gd name="T34" fmla="*/ 2147483647 w 279"/>
                      <a:gd name="T35" fmla="*/ 2147483647 h 200"/>
                      <a:gd name="T36" fmla="*/ 2147483647 w 279"/>
                      <a:gd name="T37" fmla="*/ 2147483647 h 200"/>
                      <a:gd name="T38" fmla="*/ 2147483647 w 279"/>
                      <a:gd name="T39" fmla="*/ 2147483647 h 200"/>
                      <a:gd name="T40" fmla="*/ 2147483647 w 279"/>
                      <a:gd name="T41" fmla="*/ 2147483647 h 200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w 279"/>
                      <a:gd name="T64" fmla="*/ 0 h 200"/>
                      <a:gd name="T65" fmla="*/ 279 w 279"/>
                      <a:gd name="T66" fmla="*/ 200 h 200"/>
                    </a:gdLst>
                    <a:ahLst/>
                    <a:cxnLst>
                      <a:cxn ang="T42">
                        <a:pos x="T0" y="T1"/>
                      </a:cxn>
                      <a:cxn ang="T43">
                        <a:pos x="T2" y="T3"/>
                      </a:cxn>
                      <a:cxn ang="T44">
                        <a:pos x="T4" y="T5"/>
                      </a:cxn>
                      <a:cxn ang="T45">
                        <a:pos x="T6" y="T7"/>
                      </a:cxn>
                      <a:cxn ang="T46">
                        <a:pos x="T8" y="T9"/>
                      </a:cxn>
                      <a:cxn ang="T47">
                        <a:pos x="T10" y="T11"/>
                      </a:cxn>
                      <a:cxn ang="T48">
                        <a:pos x="T12" y="T13"/>
                      </a:cxn>
                      <a:cxn ang="T49">
                        <a:pos x="T14" y="T15"/>
                      </a:cxn>
                      <a:cxn ang="T50">
                        <a:pos x="T16" y="T17"/>
                      </a:cxn>
                      <a:cxn ang="T51">
                        <a:pos x="T18" y="T19"/>
                      </a:cxn>
                      <a:cxn ang="T52">
                        <a:pos x="T20" y="T21"/>
                      </a:cxn>
                      <a:cxn ang="T53">
                        <a:pos x="T22" y="T23"/>
                      </a:cxn>
                      <a:cxn ang="T54">
                        <a:pos x="T24" y="T25"/>
                      </a:cxn>
                      <a:cxn ang="T55">
                        <a:pos x="T26" y="T27"/>
                      </a:cxn>
                      <a:cxn ang="T56">
                        <a:pos x="T28" y="T29"/>
                      </a:cxn>
                      <a:cxn ang="T57">
                        <a:pos x="T30" y="T31"/>
                      </a:cxn>
                      <a:cxn ang="T58">
                        <a:pos x="T32" y="T33"/>
                      </a:cxn>
                      <a:cxn ang="T59">
                        <a:pos x="T34" y="T35"/>
                      </a:cxn>
                      <a:cxn ang="T60">
                        <a:pos x="T36" y="T37"/>
                      </a:cxn>
                      <a:cxn ang="T61">
                        <a:pos x="T38" y="T39"/>
                      </a:cxn>
                      <a:cxn ang="T62">
                        <a:pos x="T40" y="T41"/>
                      </a:cxn>
                    </a:cxnLst>
                    <a:rect l="T63" t="T64" r="T65" b="T66"/>
                    <a:pathLst>
                      <a:path w="279" h="200">
                        <a:moveTo>
                          <a:pt x="253" y="61"/>
                        </a:moveTo>
                        <a:lnTo>
                          <a:pt x="244" y="8"/>
                        </a:lnTo>
                        <a:lnTo>
                          <a:pt x="218" y="0"/>
                        </a:lnTo>
                        <a:lnTo>
                          <a:pt x="201" y="17"/>
                        </a:lnTo>
                        <a:lnTo>
                          <a:pt x="53" y="17"/>
                        </a:lnTo>
                        <a:lnTo>
                          <a:pt x="53" y="43"/>
                        </a:lnTo>
                        <a:lnTo>
                          <a:pt x="35" y="52"/>
                        </a:lnTo>
                        <a:lnTo>
                          <a:pt x="35" y="130"/>
                        </a:lnTo>
                        <a:lnTo>
                          <a:pt x="9" y="157"/>
                        </a:lnTo>
                        <a:lnTo>
                          <a:pt x="0" y="183"/>
                        </a:lnTo>
                        <a:lnTo>
                          <a:pt x="9" y="183"/>
                        </a:lnTo>
                        <a:lnTo>
                          <a:pt x="79" y="165"/>
                        </a:lnTo>
                        <a:lnTo>
                          <a:pt x="131" y="183"/>
                        </a:lnTo>
                        <a:lnTo>
                          <a:pt x="175" y="174"/>
                        </a:lnTo>
                        <a:lnTo>
                          <a:pt x="210" y="157"/>
                        </a:lnTo>
                        <a:lnTo>
                          <a:pt x="210" y="191"/>
                        </a:lnTo>
                        <a:lnTo>
                          <a:pt x="218" y="200"/>
                        </a:lnTo>
                        <a:lnTo>
                          <a:pt x="236" y="165"/>
                        </a:lnTo>
                        <a:lnTo>
                          <a:pt x="244" y="104"/>
                        </a:lnTo>
                        <a:lnTo>
                          <a:pt x="279" y="87"/>
                        </a:lnTo>
                        <a:lnTo>
                          <a:pt x="253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4" name="Rectangle 295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5" name="Rectangle 296"/>
                  <p:cNvSpPr>
                    <a:spLocks noChangeArrowheads="1"/>
                  </p:cNvSpPr>
                  <p:nvPr/>
                </p:nvSpPr>
                <p:spPr bwMode="auto">
                  <a:xfrm>
                    <a:off x="3878263" y="3054350"/>
                    <a:ext cx="12700" cy="26988"/>
                  </a:xfrm>
                  <a:prstGeom prst="rect">
                    <a:avLst/>
                  </a:pr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6" name="Freeform 297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7" name="Freeform 298"/>
                  <p:cNvSpPr>
                    <a:spLocks/>
                  </p:cNvSpPr>
                  <p:nvPr/>
                </p:nvSpPr>
                <p:spPr bwMode="auto">
                  <a:xfrm>
                    <a:off x="3905251" y="3067050"/>
                    <a:ext cx="28575" cy="28575"/>
                  </a:xfrm>
                  <a:custGeom>
                    <a:avLst/>
                    <a:gdLst>
                      <a:gd name="T0" fmla="*/ 2147483647 w 18"/>
                      <a:gd name="T1" fmla="*/ 0 h 18"/>
                      <a:gd name="T2" fmla="*/ 0 w 18"/>
                      <a:gd name="T3" fmla="*/ 2147483647 h 18"/>
                      <a:gd name="T4" fmla="*/ 2147483647 w 18"/>
                      <a:gd name="T5" fmla="*/ 0 h 18"/>
                      <a:gd name="T6" fmla="*/ 2147483647 w 1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8"/>
                      <a:gd name="T13" fmla="*/ 0 h 18"/>
                      <a:gd name="T14" fmla="*/ 18 w 1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8" h="18">
                        <a:moveTo>
                          <a:pt x="9" y="0"/>
                        </a:moveTo>
                        <a:lnTo>
                          <a:pt x="0" y="18"/>
                        </a:lnTo>
                        <a:lnTo>
                          <a:pt x="18" y="0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8" name="Freeform 299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49" name="Freeform 300"/>
                  <p:cNvSpPr>
                    <a:spLocks/>
                  </p:cNvSpPr>
                  <p:nvPr/>
                </p:nvSpPr>
                <p:spPr bwMode="auto">
                  <a:xfrm>
                    <a:off x="3975101" y="3054350"/>
                    <a:ext cx="26988" cy="41275"/>
                  </a:xfrm>
                  <a:custGeom>
                    <a:avLst/>
                    <a:gdLst>
                      <a:gd name="T0" fmla="*/ 2147483647 w 17"/>
                      <a:gd name="T1" fmla="*/ 2147483647 h 26"/>
                      <a:gd name="T2" fmla="*/ 2147483647 w 17"/>
                      <a:gd name="T3" fmla="*/ 0 h 26"/>
                      <a:gd name="T4" fmla="*/ 0 w 17"/>
                      <a:gd name="T5" fmla="*/ 2147483647 h 26"/>
                      <a:gd name="T6" fmla="*/ 2147483647 w 17"/>
                      <a:gd name="T7" fmla="*/ 2147483647 h 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7"/>
                      <a:gd name="T13" fmla="*/ 0 h 26"/>
                      <a:gd name="T14" fmla="*/ 17 w 17"/>
                      <a:gd name="T15" fmla="*/ 26 h 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7" h="26">
                        <a:moveTo>
                          <a:pt x="8" y="17"/>
                        </a:moveTo>
                        <a:lnTo>
                          <a:pt x="17" y="0"/>
                        </a:lnTo>
                        <a:lnTo>
                          <a:pt x="0" y="26"/>
                        </a:lnTo>
                        <a:lnTo>
                          <a:pt x="8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0" name="Freeform 488"/>
                  <p:cNvSpPr>
                    <a:spLocks/>
                  </p:cNvSpPr>
                  <p:nvPr/>
                </p:nvSpPr>
                <p:spPr bwMode="auto">
                  <a:xfrm>
                    <a:off x="4556126" y="2817813"/>
                    <a:ext cx="96838" cy="222250"/>
                  </a:xfrm>
                  <a:custGeom>
                    <a:avLst/>
                    <a:gdLst>
                      <a:gd name="T0" fmla="*/ 2147483647 w 61"/>
                      <a:gd name="T1" fmla="*/ 2147483647 h 140"/>
                      <a:gd name="T2" fmla="*/ 2147483647 w 61"/>
                      <a:gd name="T3" fmla="*/ 2147483647 h 140"/>
                      <a:gd name="T4" fmla="*/ 2147483647 w 61"/>
                      <a:gd name="T5" fmla="*/ 0 h 140"/>
                      <a:gd name="T6" fmla="*/ 0 w 61"/>
                      <a:gd name="T7" fmla="*/ 2147483647 h 140"/>
                      <a:gd name="T8" fmla="*/ 2147483647 w 61"/>
                      <a:gd name="T9" fmla="*/ 2147483647 h 140"/>
                      <a:gd name="T10" fmla="*/ 2147483647 w 61"/>
                      <a:gd name="T11" fmla="*/ 2147483647 h 140"/>
                      <a:gd name="T12" fmla="*/ 2147483647 w 61"/>
                      <a:gd name="T13" fmla="*/ 2147483647 h 140"/>
                      <a:gd name="T14" fmla="*/ 2147483647 w 61"/>
                      <a:gd name="T15" fmla="*/ 2147483647 h 140"/>
                      <a:gd name="T16" fmla="*/ 2147483647 w 61"/>
                      <a:gd name="T17" fmla="*/ 2147483647 h 140"/>
                      <a:gd name="T18" fmla="*/ 2147483647 w 61"/>
                      <a:gd name="T19" fmla="*/ 2147483647 h 140"/>
                      <a:gd name="T20" fmla="*/ 2147483647 w 61"/>
                      <a:gd name="T21" fmla="*/ 2147483647 h 140"/>
                      <a:gd name="T22" fmla="*/ 2147483647 w 61"/>
                      <a:gd name="T23" fmla="*/ 2147483647 h 140"/>
                      <a:gd name="T24" fmla="*/ 2147483647 w 61"/>
                      <a:gd name="T25" fmla="*/ 2147483647 h 140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61"/>
                      <a:gd name="T40" fmla="*/ 0 h 140"/>
                      <a:gd name="T41" fmla="*/ 61 w 61"/>
                      <a:gd name="T42" fmla="*/ 140 h 140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61" h="140">
                        <a:moveTo>
                          <a:pt x="35" y="27"/>
                        </a:moveTo>
                        <a:lnTo>
                          <a:pt x="35" y="18"/>
                        </a:lnTo>
                        <a:lnTo>
                          <a:pt x="17" y="0"/>
                        </a:lnTo>
                        <a:lnTo>
                          <a:pt x="0" y="70"/>
                        </a:lnTo>
                        <a:lnTo>
                          <a:pt x="26" y="140"/>
                        </a:lnTo>
                        <a:lnTo>
                          <a:pt x="43" y="123"/>
                        </a:lnTo>
                        <a:lnTo>
                          <a:pt x="43" y="105"/>
                        </a:lnTo>
                        <a:lnTo>
                          <a:pt x="52" y="96"/>
                        </a:lnTo>
                        <a:lnTo>
                          <a:pt x="61" y="79"/>
                        </a:lnTo>
                        <a:lnTo>
                          <a:pt x="26" y="61"/>
                        </a:lnTo>
                        <a:lnTo>
                          <a:pt x="35" y="44"/>
                        </a:lnTo>
                        <a:lnTo>
                          <a:pt x="26" y="27"/>
                        </a:lnTo>
                        <a:lnTo>
                          <a:pt x="35" y="2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1" name="Freeform 490"/>
                  <p:cNvSpPr>
                    <a:spLocks/>
                  </p:cNvSpPr>
                  <p:nvPr/>
                </p:nvSpPr>
                <p:spPr bwMode="auto">
                  <a:xfrm>
                    <a:off x="4127501" y="2817813"/>
                    <a:ext cx="539750" cy="539750"/>
                  </a:xfrm>
                  <a:custGeom>
                    <a:avLst/>
                    <a:gdLst>
                      <a:gd name="T0" fmla="*/ 2147483647 w 340"/>
                      <a:gd name="T1" fmla="*/ 2147483647 h 340"/>
                      <a:gd name="T2" fmla="*/ 2147483647 w 340"/>
                      <a:gd name="T3" fmla="*/ 2147483647 h 340"/>
                      <a:gd name="T4" fmla="*/ 2147483647 w 340"/>
                      <a:gd name="T5" fmla="*/ 2147483647 h 340"/>
                      <a:gd name="T6" fmla="*/ 2147483647 w 340"/>
                      <a:gd name="T7" fmla="*/ 2147483647 h 340"/>
                      <a:gd name="T8" fmla="*/ 2147483647 w 340"/>
                      <a:gd name="T9" fmla="*/ 2147483647 h 340"/>
                      <a:gd name="T10" fmla="*/ 2147483647 w 340"/>
                      <a:gd name="T11" fmla="*/ 0 h 340"/>
                      <a:gd name="T12" fmla="*/ 2147483647 w 340"/>
                      <a:gd name="T13" fmla="*/ 2147483647 h 340"/>
                      <a:gd name="T14" fmla="*/ 2147483647 w 340"/>
                      <a:gd name="T15" fmla="*/ 2147483647 h 340"/>
                      <a:gd name="T16" fmla="*/ 2147483647 w 340"/>
                      <a:gd name="T17" fmla="*/ 2147483647 h 340"/>
                      <a:gd name="T18" fmla="*/ 2147483647 w 340"/>
                      <a:gd name="T19" fmla="*/ 2147483647 h 340"/>
                      <a:gd name="T20" fmla="*/ 2147483647 w 340"/>
                      <a:gd name="T21" fmla="*/ 2147483647 h 340"/>
                      <a:gd name="T22" fmla="*/ 2147483647 w 340"/>
                      <a:gd name="T23" fmla="*/ 2147483647 h 340"/>
                      <a:gd name="T24" fmla="*/ 2147483647 w 340"/>
                      <a:gd name="T25" fmla="*/ 2147483647 h 340"/>
                      <a:gd name="T26" fmla="*/ 2147483647 w 340"/>
                      <a:gd name="T27" fmla="*/ 2147483647 h 340"/>
                      <a:gd name="T28" fmla="*/ 2147483647 w 340"/>
                      <a:gd name="T29" fmla="*/ 2147483647 h 340"/>
                      <a:gd name="T30" fmla="*/ 2147483647 w 340"/>
                      <a:gd name="T31" fmla="*/ 2147483647 h 340"/>
                      <a:gd name="T32" fmla="*/ 0 w 340"/>
                      <a:gd name="T33" fmla="*/ 2147483647 h 340"/>
                      <a:gd name="T34" fmla="*/ 0 w 340"/>
                      <a:gd name="T35" fmla="*/ 2147483647 h 340"/>
                      <a:gd name="T36" fmla="*/ 2147483647 w 340"/>
                      <a:gd name="T37" fmla="*/ 2147483647 h 340"/>
                      <a:gd name="T38" fmla="*/ 2147483647 w 340"/>
                      <a:gd name="T39" fmla="*/ 2147483647 h 340"/>
                      <a:gd name="T40" fmla="*/ 2147483647 w 340"/>
                      <a:gd name="T41" fmla="*/ 2147483647 h 340"/>
                      <a:gd name="T42" fmla="*/ 2147483647 w 340"/>
                      <a:gd name="T43" fmla="*/ 2147483647 h 340"/>
                      <a:gd name="T44" fmla="*/ 2147483647 w 340"/>
                      <a:gd name="T45" fmla="*/ 2147483647 h 340"/>
                      <a:gd name="T46" fmla="*/ 2147483647 w 340"/>
                      <a:gd name="T47" fmla="*/ 2147483647 h 340"/>
                      <a:gd name="T48" fmla="*/ 2147483647 w 340"/>
                      <a:gd name="T49" fmla="*/ 2147483647 h 340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w 340"/>
                      <a:gd name="T76" fmla="*/ 0 h 340"/>
                      <a:gd name="T77" fmla="*/ 340 w 340"/>
                      <a:gd name="T78" fmla="*/ 340 h 340"/>
                    </a:gdLst>
                    <a:ahLst/>
                    <a:cxnLst>
                      <a:cxn ang="T50">
                        <a:pos x="T0" y="T1"/>
                      </a:cxn>
                      <a:cxn ang="T51">
                        <a:pos x="T2" y="T3"/>
                      </a:cxn>
                      <a:cxn ang="T52">
                        <a:pos x="T4" y="T5"/>
                      </a:cxn>
                      <a:cxn ang="T53">
                        <a:pos x="T6" y="T7"/>
                      </a:cxn>
                      <a:cxn ang="T54">
                        <a:pos x="T8" y="T9"/>
                      </a:cxn>
                      <a:cxn ang="T55">
                        <a:pos x="T10" y="T11"/>
                      </a:cxn>
                      <a:cxn ang="T56">
                        <a:pos x="T12" y="T13"/>
                      </a:cxn>
                      <a:cxn ang="T57">
                        <a:pos x="T14" y="T15"/>
                      </a:cxn>
                      <a:cxn ang="T58">
                        <a:pos x="T16" y="T17"/>
                      </a:cxn>
                      <a:cxn ang="T59">
                        <a:pos x="T18" y="T19"/>
                      </a:cxn>
                      <a:cxn ang="T60">
                        <a:pos x="T20" y="T21"/>
                      </a:cxn>
                      <a:cxn ang="T61">
                        <a:pos x="T22" y="T23"/>
                      </a:cxn>
                      <a:cxn ang="T62">
                        <a:pos x="T24" y="T25"/>
                      </a:cxn>
                      <a:cxn ang="T63">
                        <a:pos x="T26" y="T27"/>
                      </a:cxn>
                      <a:cxn ang="T64">
                        <a:pos x="T28" y="T29"/>
                      </a:cxn>
                      <a:cxn ang="T65">
                        <a:pos x="T30" y="T31"/>
                      </a:cxn>
                      <a:cxn ang="T66">
                        <a:pos x="T32" y="T33"/>
                      </a:cxn>
                      <a:cxn ang="T67">
                        <a:pos x="T34" y="T35"/>
                      </a:cxn>
                      <a:cxn ang="T68">
                        <a:pos x="T36" y="T37"/>
                      </a:cxn>
                      <a:cxn ang="T69">
                        <a:pos x="T38" y="T39"/>
                      </a:cxn>
                      <a:cxn ang="T70">
                        <a:pos x="T40" y="T41"/>
                      </a:cxn>
                      <a:cxn ang="T71">
                        <a:pos x="T42" y="T43"/>
                      </a:cxn>
                      <a:cxn ang="T72">
                        <a:pos x="T44" y="T45"/>
                      </a:cxn>
                      <a:cxn ang="T73">
                        <a:pos x="T46" y="T47"/>
                      </a:cxn>
                      <a:cxn ang="T74">
                        <a:pos x="T48" y="T49"/>
                      </a:cxn>
                    </a:cxnLst>
                    <a:rect l="T75" t="T76" r="T77" b="T78"/>
                    <a:pathLst>
                      <a:path w="340" h="340">
                        <a:moveTo>
                          <a:pt x="340" y="253"/>
                        </a:moveTo>
                        <a:lnTo>
                          <a:pt x="340" y="245"/>
                        </a:lnTo>
                        <a:lnTo>
                          <a:pt x="305" y="236"/>
                        </a:lnTo>
                        <a:lnTo>
                          <a:pt x="296" y="140"/>
                        </a:lnTo>
                        <a:lnTo>
                          <a:pt x="270" y="70"/>
                        </a:lnTo>
                        <a:lnTo>
                          <a:pt x="287" y="0"/>
                        </a:lnTo>
                        <a:lnTo>
                          <a:pt x="174" y="18"/>
                        </a:lnTo>
                        <a:lnTo>
                          <a:pt x="104" y="35"/>
                        </a:lnTo>
                        <a:lnTo>
                          <a:pt x="104" y="53"/>
                        </a:lnTo>
                        <a:lnTo>
                          <a:pt x="122" y="53"/>
                        </a:lnTo>
                        <a:lnTo>
                          <a:pt x="122" y="88"/>
                        </a:lnTo>
                        <a:lnTo>
                          <a:pt x="130" y="88"/>
                        </a:lnTo>
                        <a:lnTo>
                          <a:pt x="130" y="105"/>
                        </a:lnTo>
                        <a:lnTo>
                          <a:pt x="104" y="96"/>
                        </a:lnTo>
                        <a:lnTo>
                          <a:pt x="52" y="149"/>
                        </a:lnTo>
                        <a:lnTo>
                          <a:pt x="26" y="149"/>
                        </a:lnTo>
                        <a:lnTo>
                          <a:pt x="0" y="166"/>
                        </a:lnTo>
                        <a:lnTo>
                          <a:pt x="0" y="184"/>
                        </a:lnTo>
                        <a:lnTo>
                          <a:pt x="69" y="236"/>
                        </a:lnTo>
                        <a:lnTo>
                          <a:pt x="165" y="297"/>
                        </a:lnTo>
                        <a:lnTo>
                          <a:pt x="165" y="314"/>
                        </a:lnTo>
                        <a:lnTo>
                          <a:pt x="218" y="340"/>
                        </a:lnTo>
                        <a:lnTo>
                          <a:pt x="226" y="332"/>
                        </a:lnTo>
                        <a:lnTo>
                          <a:pt x="235" y="340"/>
                        </a:lnTo>
                        <a:lnTo>
                          <a:pt x="340" y="25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2" name="Freeform 516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3" name="Freeform 517"/>
                  <p:cNvSpPr>
                    <a:spLocks/>
                  </p:cNvSpPr>
                  <p:nvPr/>
                </p:nvSpPr>
                <p:spPr bwMode="auto">
                  <a:xfrm>
                    <a:off x="3684589" y="3468688"/>
                    <a:ext cx="26988" cy="28575"/>
                  </a:xfrm>
                  <a:custGeom>
                    <a:avLst/>
                    <a:gdLst>
                      <a:gd name="T0" fmla="*/ 0 w 17"/>
                      <a:gd name="T1" fmla="*/ 2147483647 h 18"/>
                      <a:gd name="T2" fmla="*/ 2147483647 w 17"/>
                      <a:gd name="T3" fmla="*/ 2147483647 h 18"/>
                      <a:gd name="T4" fmla="*/ 2147483647 w 17"/>
                      <a:gd name="T5" fmla="*/ 2147483647 h 18"/>
                      <a:gd name="T6" fmla="*/ 2147483647 w 17"/>
                      <a:gd name="T7" fmla="*/ 2147483647 h 18"/>
                      <a:gd name="T8" fmla="*/ 0 w 17"/>
                      <a:gd name="T9" fmla="*/ 0 h 18"/>
                      <a:gd name="T10" fmla="*/ 0 w 17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18"/>
                      <a:gd name="T20" fmla="*/ 17 w 1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18">
                        <a:moveTo>
                          <a:pt x="0" y="18"/>
                        </a:moveTo>
                        <a:lnTo>
                          <a:pt x="8" y="18"/>
                        </a:lnTo>
                        <a:lnTo>
                          <a:pt x="17" y="18"/>
                        </a:lnTo>
                        <a:lnTo>
                          <a:pt x="17" y="9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4" name="Freeform 518"/>
                  <p:cNvSpPr>
                    <a:spLocks/>
                  </p:cNvSpPr>
                  <p:nvPr/>
                </p:nvSpPr>
                <p:spPr bwMode="auto">
                  <a:xfrm>
                    <a:off x="5289551" y="3364792"/>
                    <a:ext cx="222251" cy="234950"/>
                  </a:xfrm>
                  <a:custGeom>
                    <a:avLst/>
                    <a:gdLst>
                      <a:gd name="T0" fmla="*/ 2147483647 w 140"/>
                      <a:gd name="T1" fmla="*/ 0 h 148"/>
                      <a:gd name="T2" fmla="*/ 2147483647 w 140"/>
                      <a:gd name="T3" fmla="*/ 2147483647 h 148"/>
                      <a:gd name="T4" fmla="*/ 0 w 140"/>
                      <a:gd name="T5" fmla="*/ 2147483647 h 148"/>
                      <a:gd name="T6" fmla="*/ 2147483647 w 140"/>
                      <a:gd name="T7" fmla="*/ 2147483647 h 148"/>
                      <a:gd name="T8" fmla="*/ 2147483647 w 140"/>
                      <a:gd name="T9" fmla="*/ 2147483647 h 148"/>
                      <a:gd name="T10" fmla="*/ 2147483647 w 140"/>
                      <a:gd name="T11" fmla="*/ 2147483647 h 148"/>
                      <a:gd name="T12" fmla="*/ 2147483647 w 140"/>
                      <a:gd name="T13" fmla="*/ 2147483647 h 148"/>
                      <a:gd name="T14" fmla="*/ 2147483647 w 140"/>
                      <a:gd name="T15" fmla="*/ 2147483647 h 148"/>
                      <a:gd name="T16" fmla="*/ 2147483647 w 140"/>
                      <a:gd name="T17" fmla="*/ 0 h 148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140"/>
                      <a:gd name="T28" fmla="*/ 0 h 148"/>
                      <a:gd name="T29" fmla="*/ 140 w 140"/>
                      <a:gd name="T30" fmla="*/ 148 h 148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140" h="148">
                        <a:moveTo>
                          <a:pt x="70" y="0"/>
                        </a:moveTo>
                        <a:lnTo>
                          <a:pt x="9" y="26"/>
                        </a:lnTo>
                        <a:lnTo>
                          <a:pt x="0" y="87"/>
                        </a:lnTo>
                        <a:lnTo>
                          <a:pt x="61" y="87"/>
                        </a:lnTo>
                        <a:lnTo>
                          <a:pt x="105" y="113"/>
                        </a:lnTo>
                        <a:lnTo>
                          <a:pt x="96" y="140"/>
                        </a:lnTo>
                        <a:lnTo>
                          <a:pt x="140" y="148"/>
                        </a:lnTo>
                        <a:lnTo>
                          <a:pt x="78" y="52"/>
                        </a:lnTo>
                        <a:lnTo>
                          <a:pt x="7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5" name="Freeform 520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6" name="Freeform 521"/>
                  <p:cNvSpPr>
                    <a:spLocks/>
                  </p:cNvSpPr>
                  <p:nvPr/>
                </p:nvSpPr>
                <p:spPr bwMode="auto">
                  <a:xfrm>
                    <a:off x="5802314" y="4506913"/>
                    <a:ext cx="26988" cy="26988"/>
                  </a:xfrm>
                  <a:custGeom>
                    <a:avLst/>
                    <a:gdLst>
                      <a:gd name="T0" fmla="*/ 2147483647 w 17"/>
                      <a:gd name="T1" fmla="*/ 2147483647 h 17"/>
                      <a:gd name="T2" fmla="*/ 2147483647 w 17"/>
                      <a:gd name="T3" fmla="*/ 2147483647 h 17"/>
                      <a:gd name="T4" fmla="*/ 2147483647 w 17"/>
                      <a:gd name="T5" fmla="*/ 0 h 17"/>
                      <a:gd name="T6" fmla="*/ 0 w 17"/>
                      <a:gd name="T7" fmla="*/ 2147483647 h 17"/>
                      <a:gd name="T8" fmla="*/ 2147483647 w 17"/>
                      <a:gd name="T9" fmla="*/ 2147483647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17"/>
                      <a:gd name="T17" fmla="*/ 17 w 17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17">
                        <a:moveTo>
                          <a:pt x="17" y="9"/>
                        </a:moveTo>
                        <a:lnTo>
                          <a:pt x="17" y="9"/>
                        </a:lnTo>
                        <a:lnTo>
                          <a:pt x="8" y="0"/>
                        </a:lnTo>
                        <a:lnTo>
                          <a:pt x="0" y="17"/>
                        </a:lnTo>
                        <a:lnTo>
                          <a:pt x="17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7" name="Freeform 522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8" name="Freeform 523"/>
                  <p:cNvSpPr>
                    <a:spLocks/>
                  </p:cNvSpPr>
                  <p:nvPr/>
                </p:nvSpPr>
                <p:spPr bwMode="auto">
                  <a:xfrm>
                    <a:off x="5483226" y="4243388"/>
                    <a:ext cx="207963" cy="401638"/>
                  </a:xfrm>
                  <a:custGeom>
                    <a:avLst/>
                    <a:gdLst>
                      <a:gd name="T0" fmla="*/ 2147483647 w 131"/>
                      <a:gd name="T1" fmla="*/ 0 h 253"/>
                      <a:gd name="T2" fmla="*/ 2147483647 w 131"/>
                      <a:gd name="T3" fmla="*/ 2147483647 h 253"/>
                      <a:gd name="T4" fmla="*/ 2147483647 w 131"/>
                      <a:gd name="T5" fmla="*/ 2147483647 h 253"/>
                      <a:gd name="T6" fmla="*/ 2147483647 w 131"/>
                      <a:gd name="T7" fmla="*/ 2147483647 h 253"/>
                      <a:gd name="T8" fmla="*/ 2147483647 w 131"/>
                      <a:gd name="T9" fmla="*/ 2147483647 h 253"/>
                      <a:gd name="T10" fmla="*/ 2147483647 w 131"/>
                      <a:gd name="T11" fmla="*/ 2147483647 h 253"/>
                      <a:gd name="T12" fmla="*/ 2147483647 w 131"/>
                      <a:gd name="T13" fmla="*/ 2147483647 h 253"/>
                      <a:gd name="T14" fmla="*/ 0 w 131"/>
                      <a:gd name="T15" fmla="*/ 2147483647 h 253"/>
                      <a:gd name="T16" fmla="*/ 0 w 131"/>
                      <a:gd name="T17" fmla="*/ 2147483647 h 253"/>
                      <a:gd name="T18" fmla="*/ 0 w 131"/>
                      <a:gd name="T19" fmla="*/ 2147483647 h 253"/>
                      <a:gd name="T20" fmla="*/ 0 w 131"/>
                      <a:gd name="T21" fmla="*/ 2147483647 h 253"/>
                      <a:gd name="T22" fmla="*/ 0 w 131"/>
                      <a:gd name="T23" fmla="*/ 2147483647 h 253"/>
                      <a:gd name="T24" fmla="*/ 0 w 131"/>
                      <a:gd name="T25" fmla="*/ 2147483647 h 253"/>
                      <a:gd name="T26" fmla="*/ 0 w 131"/>
                      <a:gd name="T27" fmla="*/ 2147483647 h 253"/>
                      <a:gd name="T28" fmla="*/ 0 w 131"/>
                      <a:gd name="T29" fmla="*/ 2147483647 h 253"/>
                      <a:gd name="T30" fmla="*/ 2147483647 w 131"/>
                      <a:gd name="T31" fmla="*/ 2147483647 h 253"/>
                      <a:gd name="T32" fmla="*/ 2147483647 w 131"/>
                      <a:gd name="T33" fmla="*/ 2147483647 h 253"/>
                      <a:gd name="T34" fmla="*/ 2147483647 w 131"/>
                      <a:gd name="T35" fmla="*/ 2147483647 h 253"/>
                      <a:gd name="T36" fmla="*/ 2147483647 w 131"/>
                      <a:gd name="T37" fmla="*/ 2147483647 h 253"/>
                      <a:gd name="T38" fmla="*/ 2147483647 w 131"/>
                      <a:gd name="T39" fmla="*/ 2147483647 h 253"/>
                      <a:gd name="T40" fmla="*/ 2147483647 w 131"/>
                      <a:gd name="T41" fmla="*/ 2147483647 h 253"/>
                      <a:gd name="T42" fmla="*/ 2147483647 w 131"/>
                      <a:gd name="T43" fmla="*/ 2147483647 h 253"/>
                      <a:gd name="T44" fmla="*/ 2147483647 w 131"/>
                      <a:gd name="T45" fmla="*/ 2147483647 h 253"/>
                      <a:gd name="T46" fmla="*/ 2147483647 w 131"/>
                      <a:gd name="T47" fmla="*/ 2147483647 h 253"/>
                      <a:gd name="T48" fmla="*/ 2147483647 w 131"/>
                      <a:gd name="T49" fmla="*/ 2147483647 h 253"/>
                      <a:gd name="T50" fmla="*/ 2147483647 w 131"/>
                      <a:gd name="T51" fmla="*/ 2147483647 h 253"/>
                      <a:gd name="T52" fmla="*/ 2147483647 w 131"/>
                      <a:gd name="T53" fmla="*/ 2147483647 h 253"/>
                      <a:gd name="T54" fmla="*/ 2147483647 w 131"/>
                      <a:gd name="T55" fmla="*/ 2147483647 h 253"/>
                      <a:gd name="T56" fmla="*/ 2147483647 w 131"/>
                      <a:gd name="T57" fmla="*/ 2147483647 h 253"/>
                      <a:gd name="T58" fmla="*/ 2147483647 w 131"/>
                      <a:gd name="T59" fmla="*/ 2147483647 h 253"/>
                      <a:gd name="T60" fmla="*/ 2147483647 w 131"/>
                      <a:gd name="T61" fmla="*/ 2147483647 h 253"/>
                      <a:gd name="T62" fmla="*/ 2147483647 w 131"/>
                      <a:gd name="T63" fmla="*/ 2147483647 h 253"/>
                      <a:gd name="T64" fmla="*/ 2147483647 w 131"/>
                      <a:gd name="T65" fmla="*/ 0 h 253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31"/>
                      <a:gd name="T100" fmla="*/ 0 h 253"/>
                      <a:gd name="T101" fmla="*/ 131 w 131"/>
                      <a:gd name="T102" fmla="*/ 253 h 253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31" h="253">
                        <a:moveTo>
                          <a:pt x="113" y="0"/>
                        </a:moveTo>
                        <a:lnTo>
                          <a:pt x="87" y="52"/>
                        </a:lnTo>
                        <a:lnTo>
                          <a:pt x="70" y="52"/>
                        </a:lnTo>
                        <a:lnTo>
                          <a:pt x="70" y="61"/>
                        </a:lnTo>
                        <a:lnTo>
                          <a:pt x="26" y="79"/>
                        </a:lnTo>
                        <a:lnTo>
                          <a:pt x="18" y="105"/>
                        </a:lnTo>
                        <a:lnTo>
                          <a:pt x="26" y="140"/>
                        </a:lnTo>
                        <a:lnTo>
                          <a:pt x="0" y="175"/>
                        </a:lnTo>
                        <a:lnTo>
                          <a:pt x="0" y="192"/>
                        </a:lnTo>
                        <a:lnTo>
                          <a:pt x="0" y="201"/>
                        </a:lnTo>
                        <a:lnTo>
                          <a:pt x="0" y="209"/>
                        </a:lnTo>
                        <a:lnTo>
                          <a:pt x="0" y="218"/>
                        </a:lnTo>
                        <a:lnTo>
                          <a:pt x="0" y="227"/>
                        </a:lnTo>
                        <a:lnTo>
                          <a:pt x="9" y="227"/>
                        </a:lnTo>
                        <a:lnTo>
                          <a:pt x="9" y="236"/>
                        </a:lnTo>
                        <a:lnTo>
                          <a:pt x="18" y="244"/>
                        </a:lnTo>
                        <a:lnTo>
                          <a:pt x="26" y="253"/>
                        </a:lnTo>
                        <a:lnTo>
                          <a:pt x="61" y="236"/>
                        </a:lnTo>
                        <a:lnTo>
                          <a:pt x="70" y="201"/>
                        </a:lnTo>
                        <a:lnTo>
                          <a:pt x="96" y="157"/>
                        </a:lnTo>
                        <a:lnTo>
                          <a:pt x="96" y="148"/>
                        </a:lnTo>
                        <a:lnTo>
                          <a:pt x="131" y="52"/>
                        </a:lnTo>
                        <a:lnTo>
                          <a:pt x="131" y="35"/>
                        </a:lnTo>
                        <a:lnTo>
                          <a:pt x="131" y="26"/>
                        </a:lnTo>
                        <a:lnTo>
                          <a:pt x="113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59" name="Freeform 524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0" name="Freeform 525"/>
                  <p:cNvSpPr>
                    <a:spLocks/>
                  </p:cNvSpPr>
                  <p:nvPr/>
                </p:nvSpPr>
                <p:spPr bwMode="auto">
                  <a:xfrm>
                    <a:off x="5456239" y="3551238"/>
                    <a:ext cx="261938" cy="387350"/>
                  </a:xfrm>
                  <a:custGeom>
                    <a:avLst/>
                    <a:gdLst>
                      <a:gd name="T0" fmla="*/ 2147483647 w 165"/>
                      <a:gd name="T1" fmla="*/ 2147483647 h 244"/>
                      <a:gd name="T2" fmla="*/ 2147483647 w 165"/>
                      <a:gd name="T3" fmla="*/ 2147483647 h 244"/>
                      <a:gd name="T4" fmla="*/ 2147483647 w 165"/>
                      <a:gd name="T5" fmla="*/ 2147483647 h 244"/>
                      <a:gd name="T6" fmla="*/ 2147483647 w 165"/>
                      <a:gd name="T7" fmla="*/ 2147483647 h 244"/>
                      <a:gd name="T8" fmla="*/ 2147483647 w 165"/>
                      <a:gd name="T9" fmla="*/ 2147483647 h 244"/>
                      <a:gd name="T10" fmla="*/ 2147483647 w 165"/>
                      <a:gd name="T11" fmla="*/ 2147483647 h 244"/>
                      <a:gd name="T12" fmla="*/ 2147483647 w 165"/>
                      <a:gd name="T13" fmla="*/ 2147483647 h 244"/>
                      <a:gd name="T14" fmla="*/ 0 w 165"/>
                      <a:gd name="T15" fmla="*/ 2147483647 h 244"/>
                      <a:gd name="T16" fmla="*/ 0 w 165"/>
                      <a:gd name="T17" fmla="*/ 2147483647 h 244"/>
                      <a:gd name="T18" fmla="*/ 2147483647 w 165"/>
                      <a:gd name="T19" fmla="*/ 2147483647 h 244"/>
                      <a:gd name="T20" fmla="*/ 2147483647 w 165"/>
                      <a:gd name="T21" fmla="*/ 2147483647 h 244"/>
                      <a:gd name="T22" fmla="*/ 2147483647 w 165"/>
                      <a:gd name="T23" fmla="*/ 2147483647 h 244"/>
                      <a:gd name="T24" fmla="*/ 2147483647 w 165"/>
                      <a:gd name="T25" fmla="*/ 2147483647 h 244"/>
                      <a:gd name="T26" fmla="*/ 2147483647 w 165"/>
                      <a:gd name="T27" fmla="*/ 0 h 244"/>
                      <a:gd name="T28" fmla="*/ 2147483647 w 165"/>
                      <a:gd name="T29" fmla="*/ 2147483647 h 244"/>
                      <a:gd name="T30" fmla="*/ 2147483647 w 165"/>
                      <a:gd name="T31" fmla="*/ 2147483647 h 244"/>
                      <a:gd name="T32" fmla="*/ 2147483647 w 165"/>
                      <a:gd name="T33" fmla="*/ 2147483647 h 244"/>
                      <a:gd name="T34" fmla="*/ 2147483647 w 165"/>
                      <a:gd name="T35" fmla="*/ 2147483647 h 24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165"/>
                      <a:gd name="T55" fmla="*/ 0 h 244"/>
                      <a:gd name="T56" fmla="*/ 165 w 165"/>
                      <a:gd name="T57" fmla="*/ 244 h 24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165" h="244">
                        <a:moveTo>
                          <a:pt x="8" y="18"/>
                        </a:moveTo>
                        <a:lnTo>
                          <a:pt x="35" y="53"/>
                        </a:lnTo>
                        <a:lnTo>
                          <a:pt x="113" y="79"/>
                        </a:lnTo>
                        <a:lnTo>
                          <a:pt x="78" y="114"/>
                        </a:lnTo>
                        <a:lnTo>
                          <a:pt x="61" y="131"/>
                        </a:lnTo>
                        <a:lnTo>
                          <a:pt x="43" y="131"/>
                        </a:lnTo>
                        <a:lnTo>
                          <a:pt x="17" y="149"/>
                        </a:lnTo>
                        <a:lnTo>
                          <a:pt x="0" y="166"/>
                        </a:lnTo>
                        <a:lnTo>
                          <a:pt x="0" y="244"/>
                        </a:lnTo>
                        <a:lnTo>
                          <a:pt x="69" y="183"/>
                        </a:lnTo>
                        <a:lnTo>
                          <a:pt x="104" y="157"/>
                        </a:lnTo>
                        <a:lnTo>
                          <a:pt x="148" y="88"/>
                        </a:lnTo>
                        <a:lnTo>
                          <a:pt x="165" y="18"/>
                        </a:lnTo>
                        <a:lnTo>
                          <a:pt x="157" y="0"/>
                        </a:lnTo>
                        <a:lnTo>
                          <a:pt x="139" y="9"/>
                        </a:lnTo>
                        <a:lnTo>
                          <a:pt x="43" y="27"/>
                        </a:lnTo>
                        <a:lnTo>
                          <a:pt x="35" y="9"/>
                        </a:lnTo>
                        <a:lnTo>
                          <a:pt x="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1" name="Freeform 526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2" name="Freeform 527"/>
                  <p:cNvSpPr>
                    <a:spLocks/>
                  </p:cNvSpPr>
                  <p:nvPr/>
                </p:nvSpPr>
                <p:spPr bwMode="auto">
                  <a:xfrm>
                    <a:off x="4583114" y="3841750"/>
                    <a:ext cx="166688" cy="180975"/>
                  </a:xfrm>
                  <a:custGeom>
                    <a:avLst/>
                    <a:gdLst>
                      <a:gd name="T0" fmla="*/ 2147483647 w 105"/>
                      <a:gd name="T1" fmla="*/ 2147483647 h 114"/>
                      <a:gd name="T2" fmla="*/ 2147483647 w 105"/>
                      <a:gd name="T3" fmla="*/ 0 h 114"/>
                      <a:gd name="T4" fmla="*/ 2147483647 w 105"/>
                      <a:gd name="T5" fmla="*/ 0 h 114"/>
                      <a:gd name="T6" fmla="*/ 2147483647 w 105"/>
                      <a:gd name="T7" fmla="*/ 2147483647 h 114"/>
                      <a:gd name="T8" fmla="*/ 2147483647 w 105"/>
                      <a:gd name="T9" fmla="*/ 2147483647 h 114"/>
                      <a:gd name="T10" fmla="*/ 2147483647 w 105"/>
                      <a:gd name="T11" fmla="*/ 2147483647 h 114"/>
                      <a:gd name="T12" fmla="*/ 0 w 105"/>
                      <a:gd name="T13" fmla="*/ 2147483647 h 114"/>
                      <a:gd name="T14" fmla="*/ 2147483647 w 105"/>
                      <a:gd name="T15" fmla="*/ 2147483647 h 114"/>
                      <a:gd name="T16" fmla="*/ 2147483647 w 105"/>
                      <a:gd name="T17" fmla="*/ 2147483647 h 114"/>
                      <a:gd name="T18" fmla="*/ 2147483647 w 105"/>
                      <a:gd name="T19" fmla="*/ 2147483647 h 114"/>
                      <a:gd name="T20" fmla="*/ 2147483647 w 105"/>
                      <a:gd name="T21" fmla="*/ 2147483647 h 114"/>
                      <a:gd name="T22" fmla="*/ 2147483647 w 105"/>
                      <a:gd name="T23" fmla="*/ 2147483647 h 114"/>
                      <a:gd name="T24" fmla="*/ 2147483647 w 105"/>
                      <a:gd name="T25" fmla="*/ 2147483647 h 114"/>
                      <a:gd name="T26" fmla="*/ 2147483647 w 105"/>
                      <a:gd name="T27" fmla="*/ 2147483647 h 114"/>
                      <a:gd name="T28" fmla="*/ 2147483647 w 105"/>
                      <a:gd name="T29" fmla="*/ 2147483647 h 11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05"/>
                      <a:gd name="T46" fmla="*/ 0 h 114"/>
                      <a:gd name="T47" fmla="*/ 105 w 105"/>
                      <a:gd name="T48" fmla="*/ 114 h 11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05" h="114">
                        <a:moveTo>
                          <a:pt x="88" y="18"/>
                        </a:moveTo>
                        <a:lnTo>
                          <a:pt x="79" y="0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18" y="18"/>
                        </a:lnTo>
                        <a:lnTo>
                          <a:pt x="18" y="35"/>
                        </a:lnTo>
                        <a:lnTo>
                          <a:pt x="0" y="53"/>
                        </a:lnTo>
                        <a:lnTo>
                          <a:pt x="35" y="114"/>
                        </a:lnTo>
                        <a:lnTo>
                          <a:pt x="61" y="105"/>
                        </a:lnTo>
                        <a:lnTo>
                          <a:pt x="61" y="79"/>
                        </a:lnTo>
                        <a:lnTo>
                          <a:pt x="96" y="79"/>
                        </a:lnTo>
                        <a:lnTo>
                          <a:pt x="105" y="61"/>
                        </a:lnTo>
                        <a:lnTo>
                          <a:pt x="96" y="35"/>
                        </a:lnTo>
                        <a:lnTo>
                          <a:pt x="96" y="18"/>
                        </a:lnTo>
                        <a:lnTo>
                          <a:pt x="88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3" name="Freeform 529"/>
                  <p:cNvSpPr>
                    <a:spLocks/>
                  </p:cNvSpPr>
                  <p:nvPr/>
                </p:nvSpPr>
                <p:spPr bwMode="auto">
                  <a:xfrm>
                    <a:off x="5219701" y="3497263"/>
                    <a:ext cx="415925" cy="303213"/>
                  </a:xfrm>
                  <a:custGeom>
                    <a:avLst/>
                    <a:gdLst>
                      <a:gd name="T0" fmla="*/ 0 w 262"/>
                      <a:gd name="T1" fmla="*/ 2147483647 h 191"/>
                      <a:gd name="T2" fmla="*/ 0 w 262"/>
                      <a:gd name="T3" fmla="*/ 2147483647 h 191"/>
                      <a:gd name="T4" fmla="*/ 2147483647 w 262"/>
                      <a:gd name="T5" fmla="*/ 2147483647 h 191"/>
                      <a:gd name="T6" fmla="*/ 2147483647 w 262"/>
                      <a:gd name="T7" fmla="*/ 2147483647 h 191"/>
                      <a:gd name="T8" fmla="*/ 2147483647 w 262"/>
                      <a:gd name="T9" fmla="*/ 2147483647 h 191"/>
                      <a:gd name="T10" fmla="*/ 2147483647 w 262"/>
                      <a:gd name="T11" fmla="*/ 2147483647 h 191"/>
                      <a:gd name="T12" fmla="*/ 2147483647 w 262"/>
                      <a:gd name="T13" fmla="*/ 2147483647 h 191"/>
                      <a:gd name="T14" fmla="*/ 2147483647 w 262"/>
                      <a:gd name="T15" fmla="*/ 2147483647 h 191"/>
                      <a:gd name="T16" fmla="*/ 2147483647 w 262"/>
                      <a:gd name="T17" fmla="*/ 2147483647 h 191"/>
                      <a:gd name="T18" fmla="*/ 2147483647 w 262"/>
                      <a:gd name="T19" fmla="*/ 2147483647 h 191"/>
                      <a:gd name="T20" fmla="*/ 2147483647 w 262"/>
                      <a:gd name="T21" fmla="*/ 2147483647 h 191"/>
                      <a:gd name="T22" fmla="*/ 2147483647 w 262"/>
                      <a:gd name="T23" fmla="*/ 2147483647 h 191"/>
                      <a:gd name="T24" fmla="*/ 2147483647 w 262"/>
                      <a:gd name="T25" fmla="*/ 2147483647 h 191"/>
                      <a:gd name="T26" fmla="*/ 2147483647 w 262"/>
                      <a:gd name="T27" fmla="*/ 2147483647 h 191"/>
                      <a:gd name="T28" fmla="*/ 2147483647 w 262"/>
                      <a:gd name="T29" fmla="*/ 2147483647 h 191"/>
                      <a:gd name="T30" fmla="*/ 2147483647 w 262"/>
                      <a:gd name="T31" fmla="*/ 2147483647 h 191"/>
                      <a:gd name="T32" fmla="*/ 2147483647 w 262"/>
                      <a:gd name="T33" fmla="*/ 2147483647 h 191"/>
                      <a:gd name="T34" fmla="*/ 2147483647 w 262"/>
                      <a:gd name="T35" fmla="*/ 0 h 191"/>
                      <a:gd name="T36" fmla="*/ 2147483647 w 262"/>
                      <a:gd name="T37" fmla="*/ 2147483647 h 191"/>
                      <a:gd name="T38" fmla="*/ 2147483647 w 262"/>
                      <a:gd name="T39" fmla="*/ 2147483647 h 191"/>
                      <a:gd name="T40" fmla="*/ 2147483647 w 262"/>
                      <a:gd name="T41" fmla="*/ 2147483647 h 191"/>
                      <a:gd name="T42" fmla="*/ 2147483647 w 262"/>
                      <a:gd name="T43" fmla="*/ 2147483647 h 191"/>
                      <a:gd name="T44" fmla="*/ 0 w 262"/>
                      <a:gd name="T45" fmla="*/ 2147483647 h 19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62"/>
                      <a:gd name="T70" fmla="*/ 0 h 191"/>
                      <a:gd name="T71" fmla="*/ 262 w 262"/>
                      <a:gd name="T72" fmla="*/ 191 h 19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62" h="191">
                        <a:moveTo>
                          <a:pt x="0" y="104"/>
                        </a:moveTo>
                        <a:lnTo>
                          <a:pt x="0" y="122"/>
                        </a:lnTo>
                        <a:lnTo>
                          <a:pt x="9" y="122"/>
                        </a:lnTo>
                        <a:lnTo>
                          <a:pt x="44" y="148"/>
                        </a:lnTo>
                        <a:lnTo>
                          <a:pt x="53" y="156"/>
                        </a:lnTo>
                        <a:lnTo>
                          <a:pt x="61" y="174"/>
                        </a:lnTo>
                        <a:lnTo>
                          <a:pt x="122" y="191"/>
                        </a:lnTo>
                        <a:lnTo>
                          <a:pt x="149" y="183"/>
                        </a:lnTo>
                        <a:lnTo>
                          <a:pt x="166" y="183"/>
                        </a:lnTo>
                        <a:lnTo>
                          <a:pt x="192" y="165"/>
                        </a:lnTo>
                        <a:lnTo>
                          <a:pt x="210" y="165"/>
                        </a:lnTo>
                        <a:lnTo>
                          <a:pt x="227" y="148"/>
                        </a:lnTo>
                        <a:lnTo>
                          <a:pt x="262" y="113"/>
                        </a:lnTo>
                        <a:lnTo>
                          <a:pt x="184" y="87"/>
                        </a:lnTo>
                        <a:lnTo>
                          <a:pt x="149" y="43"/>
                        </a:lnTo>
                        <a:lnTo>
                          <a:pt x="157" y="26"/>
                        </a:lnTo>
                        <a:lnTo>
                          <a:pt x="140" y="8"/>
                        </a:lnTo>
                        <a:lnTo>
                          <a:pt x="114" y="0"/>
                        </a:lnTo>
                        <a:lnTo>
                          <a:pt x="53" y="8"/>
                        </a:lnTo>
                        <a:lnTo>
                          <a:pt x="27" y="61"/>
                        </a:lnTo>
                        <a:lnTo>
                          <a:pt x="18" y="61"/>
                        </a:lnTo>
                        <a:lnTo>
                          <a:pt x="9" y="104"/>
                        </a:lnTo>
                        <a:lnTo>
                          <a:pt x="0" y="10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4" name="Freeform 531"/>
                  <p:cNvSpPr>
                    <a:spLocks/>
                  </p:cNvSpPr>
                  <p:nvPr/>
                </p:nvSpPr>
                <p:spPr bwMode="auto">
                  <a:xfrm>
                    <a:off x="4984394" y="2979616"/>
                    <a:ext cx="289353" cy="291820"/>
                  </a:xfrm>
                  <a:custGeom>
                    <a:avLst/>
                    <a:gdLst>
                      <a:gd name="T0" fmla="*/ 131 w 183"/>
                      <a:gd name="T1" fmla="*/ 52 h 183"/>
                      <a:gd name="T2" fmla="*/ 122 w 183"/>
                      <a:gd name="T3" fmla="*/ 26 h 183"/>
                      <a:gd name="T4" fmla="*/ 131 w 183"/>
                      <a:gd name="T5" fmla="*/ 52 h 183"/>
                      <a:gd name="T6" fmla="*/ 140 w 183"/>
                      <a:gd name="T7" fmla="*/ 52 h 183"/>
                      <a:gd name="T8" fmla="*/ 157 w 183"/>
                      <a:gd name="T9" fmla="*/ 70 h 183"/>
                      <a:gd name="T10" fmla="*/ 175 w 183"/>
                      <a:gd name="T11" fmla="*/ 44 h 183"/>
                      <a:gd name="T12" fmla="*/ 148 w 183"/>
                      <a:gd name="T13" fmla="*/ 0 h 183"/>
                      <a:gd name="T14" fmla="*/ 122 w 183"/>
                      <a:gd name="T15" fmla="*/ 9 h 183"/>
                      <a:gd name="T16" fmla="*/ 96 w 183"/>
                      <a:gd name="T17" fmla="*/ 9 h 183"/>
                      <a:gd name="T18" fmla="*/ 52 w 183"/>
                      <a:gd name="T19" fmla="*/ 18 h 183"/>
                      <a:gd name="T20" fmla="*/ 26 w 183"/>
                      <a:gd name="T21" fmla="*/ 0 h 183"/>
                      <a:gd name="T22" fmla="*/ 0 w 183"/>
                      <a:gd name="T23" fmla="*/ 0 h 183"/>
                      <a:gd name="T24" fmla="*/ 9 w 183"/>
                      <a:gd name="T25" fmla="*/ 26 h 183"/>
                      <a:gd name="T26" fmla="*/ 0 w 183"/>
                      <a:gd name="T27" fmla="*/ 26 h 183"/>
                      <a:gd name="T28" fmla="*/ 18 w 183"/>
                      <a:gd name="T29" fmla="*/ 52 h 183"/>
                      <a:gd name="T30" fmla="*/ 18 w 183"/>
                      <a:gd name="T31" fmla="*/ 183 h 183"/>
                      <a:gd name="T32" fmla="*/ 166 w 183"/>
                      <a:gd name="T33" fmla="*/ 183 h 183"/>
                      <a:gd name="T34" fmla="*/ 183 w 183"/>
                      <a:gd name="T35" fmla="*/ 166 h 183"/>
                      <a:gd name="T36" fmla="*/ 183 w 183"/>
                      <a:gd name="T37" fmla="*/ 140 h 183"/>
                      <a:gd name="T38" fmla="*/ 157 w 183"/>
                      <a:gd name="T39" fmla="*/ 113 h 183"/>
                      <a:gd name="T40" fmla="*/ 148 w 183"/>
                      <a:gd name="T41" fmla="*/ 79 h 183"/>
                      <a:gd name="T42" fmla="*/ 131 w 183"/>
                      <a:gd name="T43" fmla="*/ 52 h 1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183" h="183">
                        <a:moveTo>
                          <a:pt x="131" y="52"/>
                        </a:moveTo>
                        <a:lnTo>
                          <a:pt x="122" y="26"/>
                        </a:lnTo>
                        <a:lnTo>
                          <a:pt x="131" y="52"/>
                        </a:lnTo>
                        <a:lnTo>
                          <a:pt x="140" y="52"/>
                        </a:lnTo>
                        <a:lnTo>
                          <a:pt x="157" y="70"/>
                        </a:lnTo>
                        <a:lnTo>
                          <a:pt x="175" y="44"/>
                        </a:lnTo>
                        <a:lnTo>
                          <a:pt x="148" y="0"/>
                        </a:lnTo>
                        <a:lnTo>
                          <a:pt x="122" y="9"/>
                        </a:lnTo>
                        <a:lnTo>
                          <a:pt x="96" y="9"/>
                        </a:lnTo>
                        <a:lnTo>
                          <a:pt x="52" y="18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9" y="26"/>
                        </a:lnTo>
                        <a:lnTo>
                          <a:pt x="0" y="26"/>
                        </a:lnTo>
                        <a:lnTo>
                          <a:pt x="18" y="52"/>
                        </a:lnTo>
                        <a:lnTo>
                          <a:pt x="18" y="183"/>
                        </a:lnTo>
                        <a:lnTo>
                          <a:pt x="166" y="183"/>
                        </a:lnTo>
                        <a:lnTo>
                          <a:pt x="183" y="166"/>
                        </a:lnTo>
                        <a:lnTo>
                          <a:pt x="183" y="140"/>
                        </a:lnTo>
                        <a:lnTo>
                          <a:pt x="157" y="113"/>
                        </a:lnTo>
                        <a:lnTo>
                          <a:pt x="148" y="79"/>
                        </a:lnTo>
                        <a:lnTo>
                          <a:pt x="131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n>
                        <a:solidFill>
                          <a:srgbClr val="001135"/>
                        </a:solidFill>
                      </a:ln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5" name="Freeform 533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6" name="Freeform 534"/>
                  <p:cNvSpPr>
                    <a:spLocks/>
                  </p:cNvSpPr>
                  <p:nvPr/>
                </p:nvSpPr>
                <p:spPr bwMode="auto">
                  <a:xfrm>
                    <a:off x="4597401" y="2943225"/>
                    <a:ext cx="415925" cy="401638"/>
                  </a:xfrm>
                  <a:custGeom>
                    <a:avLst/>
                    <a:gdLst>
                      <a:gd name="T0" fmla="*/ 2147483647 w 262"/>
                      <a:gd name="T1" fmla="*/ 2147483647 h 253"/>
                      <a:gd name="T2" fmla="*/ 2147483647 w 262"/>
                      <a:gd name="T3" fmla="*/ 0 h 253"/>
                      <a:gd name="T4" fmla="*/ 2147483647 w 262"/>
                      <a:gd name="T5" fmla="*/ 2147483647 h 253"/>
                      <a:gd name="T6" fmla="*/ 2147483647 w 262"/>
                      <a:gd name="T7" fmla="*/ 2147483647 h 253"/>
                      <a:gd name="T8" fmla="*/ 2147483647 w 262"/>
                      <a:gd name="T9" fmla="*/ 2147483647 h 253"/>
                      <a:gd name="T10" fmla="*/ 0 w 262"/>
                      <a:gd name="T11" fmla="*/ 2147483647 h 253"/>
                      <a:gd name="T12" fmla="*/ 2147483647 w 262"/>
                      <a:gd name="T13" fmla="*/ 2147483647 h 253"/>
                      <a:gd name="T14" fmla="*/ 2147483647 w 262"/>
                      <a:gd name="T15" fmla="*/ 2147483647 h 253"/>
                      <a:gd name="T16" fmla="*/ 2147483647 w 262"/>
                      <a:gd name="T17" fmla="*/ 2147483647 h 253"/>
                      <a:gd name="T18" fmla="*/ 2147483647 w 262"/>
                      <a:gd name="T19" fmla="*/ 2147483647 h 253"/>
                      <a:gd name="T20" fmla="*/ 2147483647 w 262"/>
                      <a:gd name="T21" fmla="*/ 2147483647 h 253"/>
                      <a:gd name="T22" fmla="*/ 2147483647 w 262"/>
                      <a:gd name="T23" fmla="*/ 2147483647 h 253"/>
                      <a:gd name="T24" fmla="*/ 2147483647 w 262"/>
                      <a:gd name="T25" fmla="*/ 2147483647 h 253"/>
                      <a:gd name="T26" fmla="*/ 2147483647 w 262"/>
                      <a:gd name="T27" fmla="*/ 2147483647 h 253"/>
                      <a:gd name="T28" fmla="*/ 2147483647 w 262"/>
                      <a:gd name="T29" fmla="*/ 2147483647 h 253"/>
                      <a:gd name="T30" fmla="*/ 2147483647 w 262"/>
                      <a:gd name="T31" fmla="*/ 2147483647 h 253"/>
                      <a:gd name="T32" fmla="*/ 2147483647 w 262"/>
                      <a:gd name="T33" fmla="*/ 2147483647 h 253"/>
                      <a:gd name="T34" fmla="*/ 2147483647 w 262"/>
                      <a:gd name="T35" fmla="*/ 2147483647 h 253"/>
                      <a:gd name="T36" fmla="*/ 2147483647 w 262"/>
                      <a:gd name="T37" fmla="*/ 2147483647 h 253"/>
                      <a:gd name="T38" fmla="*/ 2147483647 w 262"/>
                      <a:gd name="T39" fmla="*/ 2147483647 h 253"/>
                      <a:gd name="T40" fmla="*/ 2147483647 w 262"/>
                      <a:gd name="T41" fmla="*/ 2147483647 h 253"/>
                      <a:gd name="T42" fmla="*/ 2147483647 w 262"/>
                      <a:gd name="T43" fmla="*/ 2147483647 h 253"/>
                      <a:gd name="T44" fmla="*/ 2147483647 w 262"/>
                      <a:gd name="T45" fmla="*/ 2147483647 h 253"/>
                      <a:gd name="T46" fmla="*/ 2147483647 w 262"/>
                      <a:gd name="T47" fmla="*/ 0 h 253"/>
                      <a:gd name="T48" fmla="*/ 2147483647 w 262"/>
                      <a:gd name="T49" fmla="*/ 2147483647 h 253"/>
                      <a:gd name="T50" fmla="*/ 2147483647 w 262"/>
                      <a:gd name="T51" fmla="*/ 2147483647 h 253"/>
                      <a:gd name="T52" fmla="*/ 2147483647 w 262"/>
                      <a:gd name="T53" fmla="*/ 2147483647 h 253"/>
                      <a:gd name="T54" fmla="*/ 2147483647 w 262"/>
                      <a:gd name="T55" fmla="*/ 2147483647 h 253"/>
                      <a:gd name="T56" fmla="*/ 2147483647 w 262"/>
                      <a:gd name="T57" fmla="*/ 2147483647 h 253"/>
                      <a:gd name="T58" fmla="*/ 2147483647 w 262"/>
                      <a:gd name="T59" fmla="*/ 2147483647 h 253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62"/>
                      <a:gd name="T91" fmla="*/ 0 h 253"/>
                      <a:gd name="T92" fmla="*/ 262 w 262"/>
                      <a:gd name="T93" fmla="*/ 253 h 253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62" h="253">
                        <a:moveTo>
                          <a:pt x="79" y="17"/>
                        </a:moveTo>
                        <a:lnTo>
                          <a:pt x="35" y="0"/>
                        </a:lnTo>
                        <a:lnTo>
                          <a:pt x="26" y="17"/>
                        </a:lnTo>
                        <a:lnTo>
                          <a:pt x="17" y="26"/>
                        </a:lnTo>
                        <a:lnTo>
                          <a:pt x="17" y="44"/>
                        </a:lnTo>
                        <a:lnTo>
                          <a:pt x="0" y="61"/>
                        </a:lnTo>
                        <a:lnTo>
                          <a:pt x="9" y="157"/>
                        </a:lnTo>
                        <a:lnTo>
                          <a:pt x="44" y="166"/>
                        </a:lnTo>
                        <a:lnTo>
                          <a:pt x="44" y="174"/>
                        </a:lnTo>
                        <a:lnTo>
                          <a:pt x="52" y="174"/>
                        </a:lnTo>
                        <a:lnTo>
                          <a:pt x="70" y="183"/>
                        </a:lnTo>
                        <a:lnTo>
                          <a:pt x="87" y="192"/>
                        </a:lnTo>
                        <a:lnTo>
                          <a:pt x="96" y="192"/>
                        </a:lnTo>
                        <a:lnTo>
                          <a:pt x="113" y="183"/>
                        </a:lnTo>
                        <a:lnTo>
                          <a:pt x="244" y="253"/>
                        </a:lnTo>
                        <a:lnTo>
                          <a:pt x="244" y="244"/>
                        </a:lnTo>
                        <a:lnTo>
                          <a:pt x="262" y="235"/>
                        </a:lnTo>
                        <a:lnTo>
                          <a:pt x="262" y="78"/>
                        </a:lnTo>
                        <a:lnTo>
                          <a:pt x="244" y="52"/>
                        </a:lnTo>
                        <a:lnTo>
                          <a:pt x="253" y="52"/>
                        </a:lnTo>
                        <a:lnTo>
                          <a:pt x="244" y="26"/>
                        </a:lnTo>
                        <a:lnTo>
                          <a:pt x="209" y="17"/>
                        </a:lnTo>
                        <a:lnTo>
                          <a:pt x="201" y="9"/>
                        </a:lnTo>
                        <a:lnTo>
                          <a:pt x="192" y="0"/>
                        </a:lnTo>
                        <a:lnTo>
                          <a:pt x="157" y="17"/>
                        </a:lnTo>
                        <a:lnTo>
                          <a:pt x="166" y="35"/>
                        </a:lnTo>
                        <a:lnTo>
                          <a:pt x="157" y="52"/>
                        </a:lnTo>
                        <a:lnTo>
                          <a:pt x="113" y="35"/>
                        </a:lnTo>
                        <a:lnTo>
                          <a:pt x="87" y="35"/>
                        </a:lnTo>
                        <a:lnTo>
                          <a:pt x="79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7" name="Freeform 535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8" name="Freeform 536"/>
                  <p:cNvSpPr>
                    <a:spLocks/>
                  </p:cNvSpPr>
                  <p:nvPr/>
                </p:nvSpPr>
                <p:spPr bwMode="auto">
                  <a:xfrm>
                    <a:off x="3711576" y="3427413"/>
                    <a:ext cx="0" cy="14288"/>
                  </a:xfrm>
                  <a:custGeom>
                    <a:avLst/>
                    <a:gdLst>
                      <a:gd name="T0" fmla="*/ 2147483647 h 9"/>
                      <a:gd name="T1" fmla="*/ 0 h 9"/>
                      <a:gd name="T2" fmla="*/ 2147483647 h 9"/>
                      <a:gd name="T3" fmla="*/ 2147483647 h 9"/>
                      <a:gd name="T4" fmla="*/ 0 60000 65536"/>
                      <a:gd name="T5" fmla="*/ 0 60000 65536"/>
                      <a:gd name="T6" fmla="*/ 0 60000 65536"/>
                      <a:gd name="T7" fmla="*/ 0 60000 65536"/>
                      <a:gd name="T8" fmla="*/ 0 h 9"/>
                      <a:gd name="T9" fmla="*/ 9 h 9"/>
                    </a:gdLst>
                    <a:ahLst/>
                    <a:cxnLst>
                      <a:cxn ang="T4">
                        <a:pos x="0" y="T0"/>
                      </a:cxn>
                      <a:cxn ang="T5">
                        <a:pos x="0" y="T1"/>
                      </a:cxn>
                      <a:cxn ang="T6">
                        <a:pos x="0" y="T2"/>
                      </a:cxn>
                      <a:cxn ang="T7">
                        <a:pos x="0" y="T3"/>
                      </a:cxn>
                    </a:cxnLst>
                    <a:rect l="0" t="T8" r="0" b="T9"/>
                    <a:pathLst>
                      <a:path h="9">
                        <a:moveTo>
                          <a:pt x="0" y="9"/>
                        </a:moveTo>
                        <a:lnTo>
                          <a:pt x="0" y="0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69" name="Freeform 537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0" name="Freeform 538"/>
                  <p:cNvSpPr>
                    <a:spLocks/>
                  </p:cNvSpPr>
                  <p:nvPr/>
                </p:nvSpPr>
                <p:spPr bwMode="auto">
                  <a:xfrm>
                    <a:off x="3711576" y="3441700"/>
                    <a:ext cx="14288" cy="26988"/>
                  </a:xfrm>
                  <a:custGeom>
                    <a:avLst/>
                    <a:gdLst>
                      <a:gd name="T0" fmla="*/ 0 w 9"/>
                      <a:gd name="T1" fmla="*/ 2147483647 h 17"/>
                      <a:gd name="T2" fmla="*/ 0 w 9"/>
                      <a:gd name="T3" fmla="*/ 2147483647 h 17"/>
                      <a:gd name="T4" fmla="*/ 0 w 9"/>
                      <a:gd name="T5" fmla="*/ 2147483647 h 17"/>
                      <a:gd name="T6" fmla="*/ 2147483647 w 9"/>
                      <a:gd name="T7" fmla="*/ 2147483647 h 17"/>
                      <a:gd name="T8" fmla="*/ 2147483647 w 9"/>
                      <a:gd name="T9" fmla="*/ 2147483647 h 17"/>
                      <a:gd name="T10" fmla="*/ 2147483647 w 9"/>
                      <a:gd name="T11" fmla="*/ 2147483647 h 17"/>
                      <a:gd name="T12" fmla="*/ 2147483647 w 9"/>
                      <a:gd name="T13" fmla="*/ 0 h 17"/>
                      <a:gd name="T14" fmla="*/ 0 w 9"/>
                      <a:gd name="T15" fmla="*/ 2147483647 h 1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9"/>
                      <a:gd name="T25" fmla="*/ 0 h 17"/>
                      <a:gd name="T26" fmla="*/ 9 w 9"/>
                      <a:gd name="T27" fmla="*/ 17 h 1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9" h="17">
                        <a:moveTo>
                          <a:pt x="0" y="8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9" y="8"/>
                        </a:lnTo>
                        <a:lnTo>
                          <a:pt x="9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1" name="Freeform 539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2" name="Freeform 540"/>
                  <p:cNvSpPr>
                    <a:spLocks noEditPoints="1"/>
                  </p:cNvSpPr>
                  <p:nvPr/>
                </p:nvSpPr>
                <p:spPr bwMode="auto">
                  <a:xfrm>
                    <a:off x="4764089" y="4548188"/>
                    <a:ext cx="442913" cy="360363"/>
                  </a:xfrm>
                  <a:custGeom>
                    <a:avLst/>
                    <a:gdLst>
                      <a:gd name="T0" fmla="*/ 2147483647 w 279"/>
                      <a:gd name="T1" fmla="*/ 2147483647 h 227"/>
                      <a:gd name="T2" fmla="*/ 2147483647 w 279"/>
                      <a:gd name="T3" fmla="*/ 2147483647 h 227"/>
                      <a:gd name="T4" fmla="*/ 2147483647 w 279"/>
                      <a:gd name="T5" fmla="*/ 2147483647 h 227"/>
                      <a:gd name="T6" fmla="*/ 2147483647 w 279"/>
                      <a:gd name="T7" fmla="*/ 2147483647 h 227"/>
                      <a:gd name="T8" fmla="*/ 2147483647 w 279"/>
                      <a:gd name="T9" fmla="*/ 2147483647 h 227"/>
                      <a:gd name="T10" fmla="*/ 2147483647 w 279"/>
                      <a:gd name="T11" fmla="*/ 2147483647 h 227"/>
                      <a:gd name="T12" fmla="*/ 2147483647 w 279"/>
                      <a:gd name="T13" fmla="*/ 2147483647 h 227"/>
                      <a:gd name="T14" fmla="*/ 2147483647 w 279"/>
                      <a:gd name="T15" fmla="*/ 2147483647 h 227"/>
                      <a:gd name="T16" fmla="*/ 2147483647 w 279"/>
                      <a:gd name="T17" fmla="*/ 2147483647 h 227"/>
                      <a:gd name="T18" fmla="*/ 2147483647 w 279"/>
                      <a:gd name="T19" fmla="*/ 2147483647 h 227"/>
                      <a:gd name="T20" fmla="*/ 2147483647 w 279"/>
                      <a:gd name="T21" fmla="*/ 2147483647 h 227"/>
                      <a:gd name="T22" fmla="*/ 2147483647 w 279"/>
                      <a:gd name="T23" fmla="*/ 2147483647 h 227"/>
                      <a:gd name="T24" fmla="*/ 2147483647 w 279"/>
                      <a:gd name="T25" fmla="*/ 2147483647 h 227"/>
                      <a:gd name="T26" fmla="*/ 2147483647 w 279"/>
                      <a:gd name="T27" fmla="*/ 2147483647 h 227"/>
                      <a:gd name="T28" fmla="*/ 2147483647 w 279"/>
                      <a:gd name="T29" fmla="*/ 2147483647 h 227"/>
                      <a:gd name="T30" fmla="*/ 2147483647 w 279"/>
                      <a:gd name="T31" fmla="*/ 2147483647 h 227"/>
                      <a:gd name="T32" fmla="*/ 2147483647 w 279"/>
                      <a:gd name="T33" fmla="*/ 2147483647 h 227"/>
                      <a:gd name="T34" fmla="*/ 2147483647 w 279"/>
                      <a:gd name="T35" fmla="*/ 2147483647 h 227"/>
                      <a:gd name="T36" fmla="*/ 0 w 279"/>
                      <a:gd name="T37" fmla="*/ 2147483647 h 227"/>
                      <a:gd name="T38" fmla="*/ 2147483647 w 279"/>
                      <a:gd name="T39" fmla="*/ 2147483647 h 227"/>
                      <a:gd name="T40" fmla="*/ 2147483647 w 279"/>
                      <a:gd name="T41" fmla="*/ 2147483647 h 227"/>
                      <a:gd name="T42" fmla="*/ 2147483647 w 279"/>
                      <a:gd name="T43" fmla="*/ 2147483647 h 227"/>
                      <a:gd name="T44" fmla="*/ 2147483647 w 279"/>
                      <a:gd name="T45" fmla="*/ 2147483647 h 227"/>
                      <a:gd name="T46" fmla="*/ 2147483647 w 279"/>
                      <a:gd name="T47" fmla="*/ 2147483647 h 227"/>
                      <a:gd name="T48" fmla="*/ 2147483647 w 279"/>
                      <a:gd name="T49" fmla="*/ 2147483647 h 227"/>
                      <a:gd name="T50" fmla="*/ 2147483647 w 279"/>
                      <a:gd name="T51" fmla="*/ 2147483647 h 227"/>
                      <a:gd name="T52" fmla="*/ 2147483647 w 279"/>
                      <a:gd name="T53" fmla="*/ 2147483647 h 227"/>
                      <a:gd name="T54" fmla="*/ 2147483647 w 279"/>
                      <a:gd name="T55" fmla="*/ 2147483647 h 227"/>
                      <a:gd name="T56" fmla="*/ 2147483647 w 279"/>
                      <a:gd name="T57" fmla="*/ 2147483647 h 227"/>
                      <a:gd name="T58" fmla="*/ 2147483647 w 279"/>
                      <a:gd name="T59" fmla="*/ 2147483647 h 227"/>
                      <a:gd name="T60" fmla="*/ 2147483647 w 279"/>
                      <a:gd name="T61" fmla="*/ 2147483647 h 227"/>
                      <a:gd name="T62" fmla="*/ 2147483647 w 279"/>
                      <a:gd name="T63" fmla="*/ 2147483647 h 227"/>
                      <a:gd name="T64" fmla="*/ 2147483647 w 279"/>
                      <a:gd name="T65" fmla="*/ 2147483647 h 227"/>
                      <a:gd name="T66" fmla="*/ 2147483647 w 279"/>
                      <a:gd name="T67" fmla="*/ 2147483647 h 227"/>
                      <a:gd name="T68" fmla="*/ 2147483647 w 279"/>
                      <a:gd name="T69" fmla="*/ 2147483647 h 227"/>
                      <a:gd name="T70" fmla="*/ 2147483647 w 279"/>
                      <a:gd name="T71" fmla="*/ 2147483647 h 227"/>
                      <a:gd name="T72" fmla="*/ 2147483647 w 279"/>
                      <a:gd name="T73" fmla="*/ 2147483647 h 227"/>
                      <a:gd name="T74" fmla="*/ 2147483647 w 279"/>
                      <a:gd name="T75" fmla="*/ 2147483647 h 227"/>
                      <a:gd name="T76" fmla="*/ 2147483647 w 279"/>
                      <a:gd name="T77" fmla="*/ 2147483647 h 227"/>
                      <a:gd name="T78" fmla="*/ 2147483647 w 279"/>
                      <a:gd name="T79" fmla="*/ 2147483647 h 227"/>
                      <a:gd name="T80" fmla="*/ 2147483647 w 279"/>
                      <a:gd name="T81" fmla="*/ 0 h 227"/>
                      <a:gd name="T82" fmla="*/ 2147483647 w 279"/>
                      <a:gd name="T83" fmla="*/ 0 h 227"/>
                      <a:gd name="T84" fmla="*/ 2147483647 w 279"/>
                      <a:gd name="T85" fmla="*/ 2147483647 h 22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279"/>
                      <a:gd name="T130" fmla="*/ 0 h 227"/>
                      <a:gd name="T131" fmla="*/ 279 w 279"/>
                      <a:gd name="T132" fmla="*/ 227 h 22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279" h="227">
                        <a:moveTo>
                          <a:pt x="183" y="139"/>
                        </a:moveTo>
                        <a:lnTo>
                          <a:pt x="209" y="113"/>
                        </a:lnTo>
                        <a:lnTo>
                          <a:pt x="218" y="131"/>
                        </a:lnTo>
                        <a:lnTo>
                          <a:pt x="209" y="139"/>
                        </a:lnTo>
                        <a:lnTo>
                          <a:pt x="200" y="148"/>
                        </a:lnTo>
                        <a:lnTo>
                          <a:pt x="183" y="139"/>
                        </a:lnTo>
                        <a:close/>
                        <a:moveTo>
                          <a:pt x="174" y="35"/>
                        </a:moveTo>
                        <a:lnTo>
                          <a:pt x="165" y="61"/>
                        </a:lnTo>
                        <a:lnTo>
                          <a:pt x="122" y="52"/>
                        </a:lnTo>
                        <a:lnTo>
                          <a:pt x="104" y="87"/>
                        </a:lnTo>
                        <a:lnTo>
                          <a:pt x="87" y="87"/>
                        </a:lnTo>
                        <a:lnTo>
                          <a:pt x="78" y="52"/>
                        </a:lnTo>
                        <a:lnTo>
                          <a:pt x="69" y="44"/>
                        </a:lnTo>
                        <a:lnTo>
                          <a:pt x="69" y="70"/>
                        </a:lnTo>
                        <a:lnTo>
                          <a:pt x="69" y="113"/>
                        </a:lnTo>
                        <a:lnTo>
                          <a:pt x="43" y="122"/>
                        </a:lnTo>
                        <a:lnTo>
                          <a:pt x="17" y="105"/>
                        </a:lnTo>
                        <a:lnTo>
                          <a:pt x="8" y="105"/>
                        </a:lnTo>
                        <a:lnTo>
                          <a:pt x="0" y="113"/>
                        </a:lnTo>
                        <a:lnTo>
                          <a:pt x="8" y="122"/>
                        </a:lnTo>
                        <a:lnTo>
                          <a:pt x="17" y="148"/>
                        </a:lnTo>
                        <a:lnTo>
                          <a:pt x="35" y="183"/>
                        </a:lnTo>
                        <a:lnTo>
                          <a:pt x="26" y="192"/>
                        </a:lnTo>
                        <a:lnTo>
                          <a:pt x="26" y="218"/>
                        </a:lnTo>
                        <a:lnTo>
                          <a:pt x="52" y="227"/>
                        </a:lnTo>
                        <a:lnTo>
                          <a:pt x="96" y="218"/>
                        </a:lnTo>
                        <a:lnTo>
                          <a:pt x="104" y="218"/>
                        </a:lnTo>
                        <a:lnTo>
                          <a:pt x="122" y="218"/>
                        </a:lnTo>
                        <a:lnTo>
                          <a:pt x="148" y="218"/>
                        </a:lnTo>
                        <a:lnTo>
                          <a:pt x="157" y="209"/>
                        </a:lnTo>
                        <a:lnTo>
                          <a:pt x="174" y="209"/>
                        </a:lnTo>
                        <a:lnTo>
                          <a:pt x="226" y="166"/>
                        </a:lnTo>
                        <a:lnTo>
                          <a:pt x="261" y="113"/>
                        </a:lnTo>
                        <a:lnTo>
                          <a:pt x="261" y="105"/>
                        </a:lnTo>
                        <a:lnTo>
                          <a:pt x="279" y="87"/>
                        </a:lnTo>
                        <a:lnTo>
                          <a:pt x="279" y="70"/>
                        </a:lnTo>
                        <a:lnTo>
                          <a:pt x="261" y="78"/>
                        </a:lnTo>
                        <a:lnTo>
                          <a:pt x="253" y="78"/>
                        </a:lnTo>
                        <a:lnTo>
                          <a:pt x="253" y="61"/>
                        </a:lnTo>
                        <a:lnTo>
                          <a:pt x="270" y="44"/>
                        </a:lnTo>
                        <a:lnTo>
                          <a:pt x="261" y="0"/>
                        </a:lnTo>
                        <a:lnTo>
                          <a:pt x="226" y="0"/>
                        </a:lnTo>
                        <a:lnTo>
                          <a:pt x="17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3" name="Freeform 541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4" name="Freeform 542"/>
                  <p:cNvSpPr>
                    <a:spLocks/>
                  </p:cNvSpPr>
                  <p:nvPr/>
                </p:nvSpPr>
                <p:spPr bwMode="auto">
                  <a:xfrm>
                    <a:off x="5054601" y="4727575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0 w 35"/>
                      <a:gd name="T3" fmla="*/ 2147483647 h 35"/>
                      <a:gd name="T4" fmla="*/ 2147483647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26" y="0"/>
                        </a:moveTo>
                        <a:lnTo>
                          <a:pt x="0" y="26"/>
                        </a:lnTo>
                        <a:lnTo>
                          <a:pt x="17" y="35"/>
                        </a:lnTo>
                        <a:lnTo>
                          <a:pt x="26" y="26"/>
                        </a:lnTo>
                        <a:lnTo>
                          <a:pt x="35" y="18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5" name="Freeform 543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6" name="Freeform 544"/>
                  <p:cNvSpPr>
                    <a:spLocks/>
                  </p:cNvSpPr>
                  <p:nvPr/>
                </p:nvSpPr>
                <p:spPr bwMode="auto">
                  <a:xfrm>
                    <a:off x="4652964" y="4395788"/>
                    <a:ext cx="373063" cy="346075"/>
                  </a:xfrm>
                  <a:custGeom>
                    <a:avLst/>
                    <a:gdLst>
                      <a:gd name="T0" fmla="*/ 2147483647 w 235"/>
                      <a:gd name="T1" fmla="*/ 2147483647 h 218"/>
                      <a:gd name="T2" fmla="*/ 2147483647 w 235"/>
                      <a:gd name="T3" fmla="*/ 2147483647 h 218"/>
                      <a:gd name="T4" fmla="*/ 2147483647 w 235"/>
                      <a:gd name="T5" fmla="*/ 2147483647 h 218"/>
                      <a:gd name="T6" fmla="*/ 2147483647 w 235"/>
                      <a:gd name="T7" fmla="*/ 2147483647 h 218"/>
                      <a:gd name="T8" fmla="*/ 2147483647 w 235"/>
                      <a:gd name="T9" fmla="*/ 2147483647 h 218"/>
                      <a:gd name="T10" fmla="*/ 2147483647 w 235"/>
                      <a:gd name="T11" fmla="*/ 2147483647 h 218"/>
                      <a:gd name="T12" fmla="*/ 2147483647 w 235"/>
                      <a:gd name="T13" fmla="*/ 2147483647 h 218"/>
                      <a:gd name="T14" fmla="*/ 2147483647 w 235"/>
                      <a:gd name="T15" fmla="*/ 0 h 218"/>
                      <a:gd name="T16" fmla="*/ 2147483647 w 235"/>
                      <a:gd name="T17" fmla="*/ 2147483647 h 218"/>
                      <a:gd name="T18" fmla="*/ 0 w 235"/>
                      <a:gd name="T19" fmla="*/ 2147483647 h 218"/>
                      <a:gd name="T20" fmla="*/ 0 w 235"/>
                      <a:gd name="T21" fmla="*/ 2147483647 h 218"/>
                      <a:gd name="T22" fmla="*/ 2147483647 w 235"/>
                      <a:gd name="T23" fmla="*/ 2147483647 h 218"/>
                      <a:gd name="T24" fmla="*/ 2147483647 w 235"/>
                      <a:gd name="T25" fmla="*/ 2147483647 h 218"/>
                      <a:gd name="T26" fmla="*/ 2147483647 w 235"/>
                      <a:gd name="T27" fmla="*/ 2147483647 h 218"/>
                      <a:gd name="T28" fmla="*/ 2147483647 w 235"/>
                      <a:gd name="T29" fmla="*/ 2147483647 h 218"/>
                      <a:gd name="T30" fmla="*/ 2147483647 w 235"/>
                      <a:gd name="T31" fmla="*/ 2147483647 h 218"/>
                      <a:gd name="T32" fmla="*/ 2147483647 w 235"/>
                      <a:gd name="T33" fmla="*/ 2147483647 h 218"/>
                      <a:gd name="T34" fmla="*/ 2147483647 w 235"/>
                      <a:gd name="T35" fmla="*/ 2147483647 h 218"/>
                      <a:gd name="T36" fmla="*/ 2147483647 w 235"/>
                      <a:gd name="T37" fmla="*/ 2147483647 h 218"/>
                      <a:gd name="T38" fmla="*/ 2147483647 w 235"/>
                      <a:gd name="T39" fmla="*/ 2147483647 h 218"/>
                      <a:gd name="T40" fmla="*/ 2147483647 w 235"/>
                      <a:gd name="T41" fmla="*/ 2147483647 h 218"/>
                      <a:gd name="T42" fmla="*/ 2147483647 w 235"/>
                      <a:gd name="T43" fmla="*/ 2147483647 h 218"/>
                      <a:gd name="T44" fmla="*/ 2147483647 w 235"/>
                      <a:gd name="T45" fmla="*/ 2147483647 h 218"/>
                      <a:gd name="T46" fmla="*/ 2147483647 w 235"/>
                      <a:gd name="T47" fmla="*/ 2147483647 h 218"/>
                      <a:gd name="T48" fmla="*/ 2147483647 w 235"/>
                      <a:gd name="T49" fmla="*/ 2147483647 h 218"/>
                      <a:gd name="T50" fmla="*/ 2147483647 w 235"/>
                      <a:gd name="T51" fmla="*/ 2147483647 h 218"/>
                      <a:gd name="T52" fmla="*/ 2147483647 w 235"/>
                      <a:gd name="T53" fmla="*/ 2147483647 h 218"/>
                      <a:gd name="T54" fmla="*/ 2147483647 w 235"/>
                      <a:gd name="T55" fmla="*/ 2147483647 h 218"/>
                      <a:gd name="T56" fmla="*/ 2147483647 w 235"/>
                      <a:gd name="T57" fmla="*/ 2147483647 h 218"/>
                      <a:gd name="T58" fmla="*/ 2147483647 w 235"/>
                      <a:gd name="T59" fmla="*/ 2147483647 h 218"/>
                      <a:gd name="T60" fmla="*/ 2147483647 w 235"/>
                      <a:gd name="T61" fmla="*/ 2147483647 h 218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5"/>
                      <a:gd name="T94" fmla="*/ 0 h 218"/>
                      <a:gd name="T95" fmla="*/ 235 w 235"/>
                      <a:gd name="T96" fmla="*/ 218 h 218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5" h="218">
                        <a:moveTo>
                          <a:pt x="235" y="17"/>
                        </a:moveTo>
                        <a:lnTo>
                          <a:pt x="235" y="9"/>
                        </a:lnTo>
                        <a:lnTo>
                          <a:pt x="200" y="9"/>
                        </a:lnTo>
                        <a:lnTo>
                          <a:pt x="166" y="17"/>
                        </a:lnTo>
                        <a:lnTo>
                          <a:pt x="122" y="17"/>
                        </a:lnTo>
                        <a:lnTo>
                          <a:pt x="122" y="9"/>
                        </a:lnTo>
                        <a:lnTo>
                          <a:pt x="78" y="9"/>
                        </a:lnTo>
                        <a:lnTo>
                          <a:pt x="44" y="0"/>
                        </a:lnTo>
                        <a:lnTo>
                          <a:pt x="17" y="9"/>
                        </a:lnTo>
                        <a:lnTo>
                          <a:pt x="0" y="9"/>
                        </a:lnTo>
                        <a:lnTo>
                          <a:pt x="0" y="17"/>
                        </a:lnTo>
                        <a:lnTo>
                          <a:pt x="9" y="17"/>
                        </a:lnTo>
                        <a:lnTo>
                          <a:pt x="44" y="87"/>
                        </a:lnTo>
                        <a:lnTo>
                          <a:pt x="52" y="87"/>
                        </a:lnTo>
                        <a:lnTo>
                          <a:pt x="52" y="96"/>
                        </a:lnTo>
                        <a:lnTo>
                          <a:pt x="44" y="113"/>
                        </a:lnTo>
                        <a:lnTo>
                          <a:pt x="70" y="209"/>
                        </a:lnTo>
                        <a:lnTo>
                          <a:pt x="78" y="201"/>
                        </a:lnTo>
                        <a:lnTo>
                          <a:pt x="87" y="201"/>
                        </a:lnTo>
                        <a:lnTo>
                          <a:pt x="113" y="218"/>
                        </a:lnTo>
                        <a:lnTo>
                          <a:pt x="139" y="209"/>
                        </a:lnTo>
                        <a:lnTo>
                          <a:pt x="139" y="166"/>
                        </a:lnTo>
                        <a:lnTo>
                          <a:pt x="139" y="140"/>
                        </a:lnTo>
                        <a:lnTo>
                          <a:pt x="139" y="113"/>
                        </a:lnTo>
                        <a:lnTo>
                          <a:pt x="157" y="96"/>
                        </a:lnTo>
                        <a:lnTo>
                          <a:pt x="166" y="44"/>
                        </a:lnTo>
                        <a:lnTo>
                          <a:pt x="157" y="26"/>
                        </a:lnTo>
                        <a:lnTo>
                          <a:pt x="174" y="26"/>
                        </a:lnTo>
                        <a:lnTo>
                          <a:pt x="209" y="17"/>
                        </a:lnTo>
                        <a:lnTo>
                          <a:pt x="218" y="26"/>
                        </a:lnTo>
                        <a:lnTo>
                          <a:pt x="235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7" name="Freeform 545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8" name="Freeform 546"/>
                  <p:cNvSpPr>
                    <a:spLocks/>
                  </p:cNvSpPr>
                  <p:nvPr/>
                </p:nvSpPr>
                <p:spPr bwMode="auto">
                  <a:xfrm>
                    <a:off x="4873626" y="4422775"/>
                    <a:ext cx="249238" cy="263525"/>
                  </a:xfrm>
                  <a:custGeom>
                    <a:avLst/>
                    <a:gdLst>
                      <a:gd name="T0" fmla="*/ 2147483647 w 157"/>
                      <a:gd name="T1" fmla="*/ 2147483647 h 166"/>
                      <a:gd name="T2" fmla="*/ 2147483647 w 157"/>
                      <a:gd name="T3" fmla="*/ 0 h 166"/>
                      <a:gd name="T4" fmla="*/ 2147483647 w 157"/>
                      <a:gd name="T5" fmla="*/ 2147483647 h 166"/>
                      <a:gd name="T6" fmla="*/ 2147483647 w 157"/>
                      <a:gd name="T7" fmla="*/ 0 h 166"/>
                      <a:gd name="T8" fmla="*/ 2147483647 w 157"/>
                      <a:gd name="T9" fmla="*/ 2147483647 h 166"/>
                      <a:gd name="T10" fmla="*/ 2147483647 w 157"/>
                      <a:gd name="T11" fmla="*/ 2147483647 h 166"/>
                      <a:gd name="T12" fmla="*/ 2147483647 w 157"/>
                      <a:gd name="T13" fmla="*/ 2147483647 h 166"/>
                      <a:gd name="T14" fmla="*/ 2147483647 w 157"/>
                      <a:gd name="T15" fmla="*/ 2147483647 h 166"/>
                      <a:gd name="T16" fmla="*/ 0 w 157"/>
                      <a:gd name="T17" fmla="*/ 2147483647 h 166"/>
                      <a:gd name="T18" fmla="*/ 0 w 157"/>
                      <a:gd name="T19" fmla="*/ 2147483647 h 166"/>
                      <a:gd name="T20" fmla="*/ 2147483647 w 157"/>
                      <a:gd name="T21" fmla="*/ 2147483647 h 166"/>
                      <a:gd name="T22" fmla="*/ 2147483647 w 157"/>
                      <a:gd name="T23" fmla="*/ 2147483647 h 166"/>
                      <a:gd name="T24" fmla="*/ 2147483647 w 157"/>
                      <a:gd name="T25" fmla="*/ 2147483647 h 166"/>
                      <a:gd name="T26" fmla="*/ 2147483647 w 157"/>
                      <a:gd name="T27" fmla="*/ 2147483647 h 166"/>
                      <a:gd name="T28" fmla="*/ 2147483647 w 157"/>
                      <a:gd name="T29" fmla="*/ 2147483647 h 166"/>
                      <a:gd name="T30" fmla="*/ 2147483647 w 157"/>
                      <a:gd name="T31" fmla="*/ 2147483647 h 166"/>
                      <a:gd name="T32" fmla="*/ 2147483647 w 157"/>
                      <a:gd name="T33" fmla="*/ 2147483647 h 166"/>
                      <a:gd name="T34" fmla="*/ 2147483647 w 157"/>
                      <a:gd name="T35" fmla="*/ 2147483647 h 166"/>
                      <a:gd name="T36" fmla="*/ 2147483647 w 157"/>
                      <a:gd name="T37" fmla="*/ 2147483647 h 166"/>
                      <a:gd name="T38" fmla="*/ 2147483647 w 157"/>
                      <a:gd name="T39" fmla="*/ 2147483647 h 16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57"/>
                      <a:gd name="T61" fmla="*/ 0 h 166"/>
                      <a:gd name="T62" fmla="*/ 157 w 157"/>
                      <a:gd name="T63" fmla="*/ 166 h 166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57" h="166">
                        <a:moveTo>
                          <a:pt x="105" y="9"/>
                        </a:moveTo>
                        <a:lnTo>
                          <a:pt x="96" y="0"/>
                        </a:lnTo>
                        <a:lnTo>
                          <a:pt x="79" y="9"/>
                        </a:lnTo>
                        <a:lnTo>
                          <a:pt x="70" y="0"/>
                        </a:lnTo>
                        <a:lnTo>
                          <a:pt x="35" y="9"/>
                        </a:lnTo>
                        <a:lnTo>
                          <a:pt x="18" y="9"/>
                        </a:lnTo>
                        <a:lnTo>
                          <a:pt x="27" y="27"/>
                        </a:lnTo>
                        <a:lnTo>
                          <a:pt x="18" y="79"/>
                        </a:lnTo>
                        <a:lnTo>
                          <a:pt x="0" y="96"/>
                        </a:lnTo>
                        <a:lnTo>
                          <a:pt x="0" y="123"/>
                        </a:lnTo>
                        <a:lnTo>
                          <a:pt x="9" y="131"/>
                        </a:lnTo>
                        <a:lnTo>
                          <a:pt x="18" y="166"/>
                        </a:lnTo>
                        <a:lnTo>
                          <a:pt x="35" y="166"/>
                        </a:lnTo>
                        <a:lnTo>
                          <a:pt x="53" y="131"/>
                        </a:lnTo>
                        <a:lnTo>
                          <a:pt x="96" y="140"/>
                        </a:lnTo>
                        <a:lnTo>
                          <a:pt x="105" y="114"/>
                        </a:lnTo>
                        <a:lnTo>
                          <a:pt x="157" y="79"/>
                        </a:lnTo>
                        <a:lnTo>
                          <a:pt x="149" y="70"/>
                        </a:lnTo>
                        <a:lnTo>
                          <a:pt x="122" y="35"/>
                        </a:lnTo>
                        <a:lnTo>
                          <a:pt x="105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79" name="Freeform 547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0" name="Freeform 548"/>
                  <p:cNvSpPr>
                    <a:spLocks/>
                  </p:cNvSpPr>
                  <p:nvPr/>
                </p:nvSpPr>
                <p:spPr bwMode="auto">
                  <a:xfrm>
                    <a:off x="5165726" y="4618038"/>
                    <a:ext cx="26988" cy="53975"/>
                  </a:xfrm>
                  <a:custGeom>
                    <a:avLst/>
                    <a:gdLst>
                      <a:gd name="T0" fmla="*/ 2147483647 w 17"/>
                      <a:gd name="T1" fmla="*/ 0 h 34"/>
                      <a:gd name="T2" fmla="*/ 0 w 17"/>
                      <a:gd name="T3" fmla="*/ 2147483647 h 34"/>
                      <a:gd name="T4" fmla="*/ 0 w 17"/>
                      <a:gd name="T5" fmla="*/ 2147483647 h 34"/>
                      <a:gd name="T6" fmla="*/ 2147483647 w 17"/>
                      <a:gd name="T7" fmla="*/ 2147483647 h 34"/>
                      <a:gd name="T8" fmla="*/ 2147483647 w 17"/>
                      <a:gd name="T9" fmla="*/ 2147483647 h 34"/>
                      <a:gd name="T10" fmla="*/ 2147483647 w 17"/>
                      <a:gd name="T11" fmla="*/ 0 h 3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7"/>
                      <a:gd name="T19" fmla="*/ 0 h 34"/>
                      <a:gd name="T20" fmla="*/ 17 w 17"/>
                      <a:gd name="T21" fmla="*/ 34 h 3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7" h="34">
                        <a:moveTo>
                          <a:pt x="17" y="0"/>
                        </a:moveTo>
                        <a:lnTo>
                          <a:pt x="0" y="17"/>
                        </a:lnTo>
                        <a:lnTo>
                          <a:pt x="0" y="34"/>
                        </a:lnTo>
                        <a:lnTo>
                          <a:pt x="8" y="34"/>
                        </a:lnTo>
                        <a:lnTo>
                          <a:pt x="17" y="26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1" name="Freeform 549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2" name="Freeform 550"/>
                  <p:cNvSpPr>
                    <a:spLocks/>
                  </p:cNvSpPr>
                  <p:nvPr/>
                </p:nvSpPr>
                <p:spPr bwMode="auto">
                  <a:xfrm>
                    <a:off x="5151439" y="4202113"/>
                    <a:ext cx="276225" cy="457200"/>
                  </a:xfrm>
                  <a:custGeom>
                    <a:avLst/>
                    <a:gdLst>
                      <a:gd name="T0" fmla="*/ 2147483647 w 174"/>
                      <a:gd name="T1" fmla="*/ 2147483647 h 288"/>
                      <a:gd name="T2" fmla="*/ 0 w 174"/>
                      <a:gd name="T3" fmla="*/ 2147483647 h 288"/>
                      <a:gd name="T4" fmla="*/ 2147483647 w 174"/>
                      <a:gd name="T5" fmla="*/ 2147483647 h 288"/>
                      <a:gd name="T6" fmla="*/ 2147483647 w 174"/>
                      <a:gd name="T7" fmla="*/ 2147483647 h 288"/>
                      <a:gd name="T8" fmla="*/ 2147483647 w 174"/>
                      <a:gd name="T9" fmla="*/ 2147483647 h 288"/>
                      <a:gd name="T10" fmla="*/ 2147483647 w 174"/>
                      <a:gd name="T11" fmla="*/ 2147483647 h 288"/>
                      <a:gd name="T12" fmla="*/ 2147483647 w 174"/>
                      <a:gd name="T13" fmla="*/ 2147483647 h 288"/>
                      <a:gd name="T14" fmla="*/ 2147483647 w 174"/>
                      <a:gd name="T15" fmla="*/ 2147483647 h 288"/>
                      <a:gd name="T16" fmla="*/ 2147483647 w 174"/>
                      <a:gd name="T17" fmla="*/ 2147483647 h 288"/>
                      <a:gd name="T18" fmla="*/ 2147483647 w 174"/>
                      <a:gd name="T19" fmla="*/ 2147483647 h 288"/>
                      <a:gd name="T20" fmla="*/ 2147483647 w 174"/>
                      <a:gd name="T21" fmla="*/ 2147483647 h 288"/>
                      <a:gd name="T22" fmla="*/ 2147483647 w 174"/>
                      <a:gd name="T23" fmla="*/ 2147483647 h 288"/>
                      <a:gd name="T24" fmla="*/ 2147483647 w 174"/>
                      <a:gd name="T25" fmla="*/ 2147483647 h 288"/>
                      <a:gd name="T26" fmla="*/ 2147483647 w 174"/>
                      <a:gd name="T27" fmla="*/ 2147483647 h 288"/>
                      <a:gd name="T28" fmla="*/ 2147483647 w 174"/>
                      <a:gd name="T29" fmla="*/ 2147483647 h 288"/>
                      <a:gd name="T30" fmla="*/ 2147483647 w 174"/>
                      <a:gd name="T31" fmla="*/ 2147483647 h 288"/>
                      <a:gd name="T32" fmla="*/ 2147483647 w 174"/>
                      <a:gd name="T33" fmla="*/ 2147483647 h 288"/>
                      <a:gd name="T34" fmla="*/ 2147483647 w 174"/>
                      <a:gd name="T35" fmla="*/ 2147483647 h 288"/>
                      <a:gd name="T36" fmla="*/ 2147483647 w 174"/>
                      <a:gd name="T37" fmla="*/ 2147483647 h 288"/>
                      <a:gd name="T38" fmla="*/ 2147483647 w 174"/>
                      <a:gd name="T39" fmla="*/ 2147483647 h 288"/>
                      <a:gd name="T40" fmla="*/ 2147483647 w 174"/>
                      <a:gd name="T41" fmla="*/ 0 h 288"/>
                      <a:gd name="T42" fmla="*/ 2147483647 w 174"/>
                      <a:gd name="T43" fmla="*/ 2147483647 h 288"/>
                      <a:gd name="T44" fmla="*/ 2147483647 w 174"/>
                      <a:gd name="T45" fmla="*/ 2147483647 h 288"/>
                      <a:gd name="T46" fmla="*/ 2147483647 w 174"/>
                      <a:gd name="T47" fmla="*/ 2147483647 h 288"/>
                      <a:gd name="T48" fmla="*/ 2147483647 w 174"/>
                      <a:gd name="T49" fmla="*/ 2147483647 h 288"/>
                      <a:gd name="T50" fmla="*/ 2147483647 w 174"/>
                      <a:gd name="T51" fmla="*/ 2147483647 h 288"/>
                      <a:gd name="T52" fmla="*/ 2147483647 w 174"/>
                      <a:gd name="T53" fmla="*/ 2147483647 h 288"/>
                      <a:gd name="T54" fmla="*/ 2147483647 w 174"/>
                      <a:gd name="T55" fmla="*/ 2147483647 h 288"/>
                      <a:gd name="T56" fmla="*/ 2147483647 w 174"/>
                      <a:gd name="T57" fmla="*/ 2147483647 h 288"/>
                      <a:gd name="T58" fmla="*/ 2147483647 w 174"/>
                      <a:gd name="T59" fmla="*/ 2147483647 h 288"/>
                      <a:gd name="T60" fmla="*/ 2147483647 w 174"/>
                      <a:gd name="T61" fmla="*/ 2147483647 h 288"/>
                      <a:gd name="T62" fmla="*/ 2147483647 w 174"/>
                      <a:gd name="T63" fmla="*/ 2147483647 h 288"/>
                      <a:gd name="T64" fmla="*/ 2147483647 w 174"/>
                      <a:gd name="T65" fmla="*/ 2147483647 h 288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88"/>
                      <a:gd name="T101" fmla="*/ 174 w 174"/>
                      <a:gd name="T102" fmla="*/ 288 h 288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88">
                        <a:moveTo>
                          <a:pt x="52" y="70"/>
                        </a:moveTo>
                        <a:lnTo>
                          <a:pt x="0" y="78"/>
                        </a:lnTo>
                        <a:lnTo>
                          <a:pt x="9" y="96"/>
                        </a:lnTo>
                        <a:lnTo>
                          <a:pt x="52" y="113"/>
                        </a:lnTo>
                        <a:lnTo>
                          <a:pt x="52" y="157"/>
                        </a:lnTo>
                        <a:lnTo>
                          <a:pt x="35" y="192"/>
                        </a:lnTo>
                        <a:lnTo>
                          <a:pt x="35" y="201"/>
                        </a:lnTo>
                        <a:lnTo>
                          <a:pt x="17" y="218"/>
                        </a:lnTo>
                        <a:lnTo>
                          <a:pt x="26" y="262"/>
                        </a:lnTo>
                        <a:lnTo>
                          <a:pt x="26" y="288"/>
                        </a:lnTo>
                        <a:lnTo>
                          <a:pt x="35" y="288"/>
                        </a:lnTo>
                        <a:lnTo>
                          <a:pt x="78" y="244"/>
                        </a:lnTo>
                        <a:lnTo>
                          <a:pt x="78" y="201"/>
                        </a:lnTo>
                        <a:lnTo>
                          <a:pt x="70" y="183"/>
                        </a:lnTo>
                        <a:lnTo>
                          <a:pt x="78" y="166"/>
                        </a:lnTo>
                        <a:lnTo>
                          <a:pt x="104" y="148"/>
                        </a:lnTo>
                        <a:lnTo>
                          <a:pt x="113" y="131"/>
                        </a:lnTo>
                        <a:lnTo>
                          <a:pt x="148" y="122"/>
                        </a:lnTo>
                        <a:lnTo>
                          <a:pt x="165" y="96"/>
                        </a:lnTo>
                        <a:lnTo>
                          <a:pt x="174" y="61"/>
                        </a:lnTo>
                        <a:lnTo>
                          <a:pt x="174" y="0"/>
                        </a:lnTo>
                        <a:lnTo>
                          <a:pt x="131" y="26"/>
                        </a:lnTo>
                        <a:lnTo>
                          <a:pt x="87" y="17"/>
                        </a:lnTo>
                        <a:lnTo>
                          <a:pt x="78" y="44"/>
                        </a:lnTo>
                        <a:lnTo>
                          <a:pt x="96" y="61"/>
                        </a:lnTo>
                        <a:lnTo>
                          <a:pt x="104" y="96"/>
                        </a:lnTo>
                        <a:lnTo>
                          <a:pt x="96" y="105"/>
                        </a:lnTo>
                        <a:lnTo>
                          <a:pt x="87" y="105"/>
                        </a:lnTo>
                        <a:lnTo>
                          <a:pt x="87" y="122"/>
                        </a:lnTo>
                        <a:lnTo>
                          <a:pt x="70" y="113"/>
                        </a:lnTo>
                        <a:lnTo>
                          <a:pt x="70" y="105"/>
                        </a:lnTo>
                        <a:lnTo>
                          <a:pt x="78" y="87"/>
                        </a:lnTo>
                        <a:lnTo>
                          <a:pt x="52" y="7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3" name="Freeform 551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4" name="Freeform 552"/>
                  <p:cNvSpPr>
                    <a:spLocks/>
                  </p:cNvSpPr>
                  <p:nvPr/>
                </p:nvSpPr>
                <p:spPr bwMode="auto">
                  <a:xfrm>
                    <a:off x="5233989" y="4175125"/>
                    <a:ext cx="82550" cy="220663"/>
                  </a:xfrm>
                  <a:custGeom>
                    <a:avLst/>
                    <a:gdLst>
                      <a:gd name="T0" fmla="*/ 2147483647 w 52"/>
                      <a:gd name="T1" fmla="*/ 0 h 139"/>
                      <a:gd name="T2" fmla="*/ 2147483647 w 52"/>
                      <a:gd name="T3" fmla="*/ 2147483647 h 139"/>
                      <a:gd name="T4" fmla="*/ 2147483647 w 52"/>
                      <a:gd name="T5" fmla="*/ 2147483647 h 139"/>
                      <a:gd name="T6" fmla="*/ 0 w 52"/>
                      <a:gd name="T7" fmla="*/ 2147483647 h 139"/>
                      <a:gd name="T8" fmla="*/ 0 w 52"/>
                      <a:gd name="T9" fmla="*/ 2147483647 h 139"/>
                      <a:gd name="T10" fmla="*/ 2147483647 w 52"/>
                      <a:gd name="T11" fmla="*/ 2147483647 h 139"/>
                      <a:gd name="T12" fmla="*/ 2147483647 w 52"/>
                      <a:gd name="T13" fmla="*/ 2147483647 h 139"/>
                      <a:gd name="T14" fmla="*/ 2147483647 w 52"/>
                      <a:gd name="T15" fmla="*/ 2147483647 h 139"/>
                      <a:gd name="T16" fmla="*/ 2147483647 w 52"/>
                      <a:gd name="T17" fmla="*/ 2147483647 h 139"/>
                      <a:gd name="T18" fmla="*/ 2147483647 w 52"/>
                      <a:gd name="T19" fmla="*/ 2147483647 h 139"/>
                      <a:gd name="T20" fmla="*/ 2147483647 w 52"/>
                      <a:gd name="T21" fmla="*/ 2147483647 h 139"/>
                      <a:gd name="T22" fmla="*/ 2147483647 w 52"/>
                      <a:gd name="T23" fmla="*/ 2147483647 h 139"/>
                      <a:gd name="T24" fmla="*/ 2147483647 w 52"/>
                      <a:gd name="T25" fmla="*/ 2147483647 h 139"/>
                      <a:gd name="T26" fmla="*/ 2147483647 w 52"/>
                      <a:gd name="T27" fmla="*/ 2147483647 h 139"/>
                      <a:gd name="T28" fmla="*/ 2147483647 w 52"/>
                      <a:gd name="T29" fmla="*/ 2147483647 h 139"/>
                      <a:gd name="T30" fmla="*/ 2147483647 w 52"/>
                      <a:gd name="T31" fmla="*/ 0 h 139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2"/>
                      <a:gd name="T49" fmla="*/ 0 h 139"/>
                      <a:gd name="T50" fmla="*/ 52 w 52"/>
                      <a:gd name="T51" fmla="*/ 139 h 139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2" h="139">
                        <a:moveTo>
                          <a:pt x="26" y="0"/>
                        </a:moveTo>
                        <a:lnTo>
                          <a:pt x="18" y="8"/>
                        </a:lnTo>
                        <a:lnTo>
                          <a:pt x="18" y="26"/>
                        </a:lnTo>
                        <a:lnTo>
                          <a:pt x="0" y="43"/>
                        </a:lnTo>
                        <a:lnTo>
                          <a:pt x="0" y="87"/>
                        </a:lnTo>
                        <a:lnTo>
                          <a:pt x="26" y="104"/>
                        </a:lnTo>
                        <a:lnTo>
                          <a:pt x="18" y="122"/>
                        </a:lnTo>
                        <a:lnTo>
                          <a:pt x="18" y="130"/>
                        </a:lnTo>
                        <a:lnTo>
                          <a:pt x="35" y="139"/>
                        </a:lnTo>
                        <a:lnTo>
                          <a:pt x="35" y="122"/>
                        </a:lnTo>
                        <a:lnTo>
                          <a:pt x="44" y="122"/>
                        </a:lnTo>
                        <a:lnTo>
                          <a:pt x="52" y="113"/>
                        </a:lnTo>
                        <a:lnTo>
                          <a:pt x="44" y="78"/>
                        </a:lnTo>
                        <a:lnTo>
                          <a:pt x="26" y="61"/>
                        </a:lnTo>
                        <a:lnTo>
                          <a:pt x="35" y="34"/>
                        </a:lnTo>
                        <a:lnTo>
                          <a:pt x="2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5" name="Freeform 553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6" name="Freeform 554"/>
                  <p:cNvSpPr>
                    <a:spLocks/>
                  </p:cNvSpPr>
                  <p:nvPr/>
                </p:nvSpPr>
                <p:spPr bwMode="auto">
                  <a:xfrm>
                    <a:off x="4943476" y="4146550"/>
                    <a:ext cx="319088" cy="276225"/>
                  </a:xfrm>
                  <a:custGeom>
                    <a:avLst/>
                    <a:gdLst>
                      <a:gd name="T0" fmla="*/ 2147483647 w 201"/>
                      <a:gd name="T1" fmla="*/ 2147483647 h 174"/>
                      <a:gd name="T2" fmla="*/ 2147483647 w 201"/>
                      <a:gd name="T3" fmla="*/ 0 h 174"/>
                      <a:gd name="T4" fmla="*/ 2147483647 w 201"/>
                      <a:gd name="T5" fmla="*/ 0 h 174"/>
                      <a:gd name="T6" fmla="*/ 2147483647 w 201"/>
                      <a:gd name="T7" fmla="*/ 2147483647 h 174"/>
                      <a:gd name="T8" fmla="*/ 2147483647 w 201"/>
                      <a:gd name="T9" fmla="*/ 2147483647 h 174"/>
                      <a:gd name="T10" fmla="*/ 2147483647 w 201"/>
                      <a:gd name="T11" fmla="*/ 2147483647 h 174"/>
                      <a:gd name="T12" fmla="*/ 2147483647 w 201"/>
                      <a:gd name="T13" fmla="*/ 2147483647 h 174"/>
                      <a:gd name="T14" fmla="*/ 2147483647 w 201"/>
                      <a:gd name="T15" fmla="*/ 2147483647 h 174"/>
                      <a:gd name="T16" fmla="*/ 0 w 201"/>
                      <a:gd name="T17" fmla="*/ 2147483647 h 174"/>
                      <a:gd name="T18" fmla="*/ 0 w 201"/>
                      <a:gd name="T19" fmla="*/ 2147483647 h 174"/>
                      <a:gd name="T20" fmla="*/ 2147483647 w 201"/>
                      <a:gd name="T21" fmla="*/ 2147483647 h 174"/>
                      <a:gd name="T22" fmla="*/ 2147483647 w 201"/>
                      <a:gd name="T23" fmla="*/ 2147483647 h 174"/>
                      <a:gd name="T24" fmla="*/ 2147483647 w 201"/>
                      <a:gd name="T25" fmla="*/ 2147483647 h 174"/>
                      <a:gd name="T26" fmla="*/ 2147483647 w 201"/>
                      <a:gd name="T27" fmla="*/ 2147483647 h 174"/>
                      <a:gd name="T28" fmla="*/ 2147483647 w 201"/>
                      <a:gd name="T29" fmla="*/ 2147483647 h 174"/>
                      <a:gd name="T30" fmla="*/ 2147483647 w 201"/>
                      <a:gd name="T31" fmla="*/ 2147483647 h 174"/>
                      <a:gd name="T32" fmla="*/ 2147483647 w 201"/>
                      <a:gd name="T33" fmla="*/ 2147483647 h 174"/>
                      <a:gd name="T34" fmla="*/ 2147483647 w 201"/>
                      <a:gd name="T35" fmla="*/ 2147483647 h 174"/>
                      <a:gd name="T36" fmla="*/ 2147483647 w 201"/>
                      <a:gd name="T37" fmla="*/ 2147483647 h 174"/>
                      <a:gd name="T38" fmla="*/ 2147483647 w 201"/>
                      <a:gd name="T39" fmla="*/ 2147483647 h 174"/>
                      <a:gd name="T40" fmla="*/ 2147483647 w 201"/>
                      <a:gd name="T41" fmla="*/ 2147483647 h 174"/>
                      <a:gd name="T42" fmla="*/ 2147483647 w 201"/>
                      <a:gd name="T43" fmla="*/ 2147483647 h 174"/>
                      <a:gd name="T44" fmla="*/ 2147483647 w 201"/>
                      <a:gd name="T45" fmla="*/ 2147483647 h 174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01"/>
                      <a:gd name="T70" fmla="*/ 0 h 174"/>
                      <a:gd name="T71" fmla="*/ 201 w 201"/>
                      <a:gd name="T72" fmla="*/ 174 h 174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01" h="174">
                        <a:moveTo>
                          <a:pt x="183" y="18"/>
                        </a:moveTo>
                        <a:lnTo>
                          <a:pt x="148" y="0"/>
                        </a:lnTo>
                        <a:lnTo>
                          <a:pt x="122" y="0"/>
                        </a:lnTo>
                        <a:lnTo>
                          <a:pt x="96" y="61"/>
                        </a:lnTo>
                        <a:lnTo>
                          <a:pt x="70" y="70"/>
                        </a:lnTo>
                        <a:lnTo>
                          <a:pt x="52" y="52"/>
                        </a:lnTo>
                        <a:lnTo>
                          <a:pt x="35" y="52"/>
                        </a:lnTo>
                        <a:lnTo>
                          <a:pt x="26" y="79"/>
                        </a:lnTo>
                        <a:lnTo>
                          <a:pt x="0" y="87"/>
                        </a:lnTo>
                        <a:lnTo>
                          <a:pt x="0" y="148"/>
                        </a:lnTo>
                        <a:lnTo>
                          <a:pt x="17" y="166"/>
                        </a:lnTo>
                        <a:lnTo>
                          <a:pt x="52" y="166"/>
                        </a:lnTo>
                        <a:lnTo>
                          <a:pt x="52" y="174"/>
                        </a:lnTo>
                        <a:lnTo>
                          <a:pt x="78" y="174"/>
                        </a:lnTo>
                        <a:lnTo>
                          <a:pt x="87" y="157"/>
                        </a:lnTo>
                        <a:lnTo>
                          <a:pt x="122" y="140"/>
                        </a:lnTo>
                        <a:lnTo>
                          <a:pt x="140" y="131"/>
                        </a:lnTo>
                        <a:lnTo>
                          <a:pt x="131" y="113"/>
                        </a:lnTo>
                        <a:lnTo>
                          <a:pt x="183" y="105"/>
                        </a:lnTo>
                        <a:lnTo>
                          <a:pt x="183" y="61"/>
                        </a:lnTo>
                        <a:lnTo>
                          <a:pt x="201" y="44"/>
                        </a:lnTo>
                        <a:lnTo>
                          <a:pt x="201" y="26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7" name="Freeform 555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8" name="Freeform 556"/>
                  <p:cNvSpPr>
                    <a:spLocks/>
                  </p:cNvSpPr>
                  <p:nvPr/>
                </p:nvSpPr>
                <p:spPr bwMode="auto">
                  <a:xfrm>
                    <a:off x="4652964" y="4078288"/>
                    <a:ext cx="346075" cy="344488"/>
                  </a:xfrm>
                  <a:custGeom>
                    <a:avLst/>
                    <a:gdLst>
                      <a:gd name="T0" fmla="*/ 2147483647 w 218"/>
                      <a:gd name="T1" fmla="*/ 2147483647 h 217"/>
                      <a:gd name="T2" fmla="*/ 2147483647 w 218"/>
                      <a:gd name="T3" fmla="*/ 0 h 217"/>
                      <a:gd name="T4" fmla="*/ 2147483647 w 218"/>
                      <a:gd name="T5" fmla="*/ 0 h 217"/>
                      <a:gd name="T6" fmla="*/ 2147483647 w 218"/>
                      <a:gd name="T7" fmla="*/ 2147483647 h 217"/>
                      <a:gd name="T8" fmla="*/ 2147483647 w 218"/>
                      <a:gd name="T9" fmla="*/ 2147483647 h 217"/>
                      <a:gd name="T10" fmla="*/ 2147483647 w 218"/>
                      <a:gd name="T11" fmla="*/ 2147483647 h 217"/>
                      <a:gd name="T12" fmla="*/ 2147483647 w 218"/>
                      <a:gd name="T13" fmla="*/ 2147483647 h 217"/>
                      <a:gd name="T14" fmla="*/ 2147483647 w 218"/>
                      <a:gd name="T15" fmla="*/ 2147483647 h 217"/>
                      <a:gd name="T16" fmla="*/ 2147483647 w 218"/>
                      <a:gd name="T17" fmla="*/ 2147483647 h 217"/>
                      <a:gd name="T18" fmla="*/ 0 w 218"/>
                      <a:gd name="T19" fmla="*/ 2147483647 h 217"/>
                      <a:gd name="T20" fmla="*/ 2147483647 w 218"/>
                      <a:gd name="T21" fmla="*/ 2147483647 h 217"/>
                      <a:gd name="T22" fmla="*/ 2147483647 w 218"/>
                      <a:gd name="T23" fmla="*/ 2147483647 h 217"/>
                      <a:gd name="T24" fmla="*/ 2147483647 w 218"/>
                      <a:gd name="T25" fmla="*/ 2147483647 h 217"/>
                      <a:gd name="T26" fmla="*/ 2147483647 w 218"/>
                      <a:gd name="T27" fmla="*/ 2147483647 h 217"/>
                      <a:gd name="T28" fmla="*/ 2147483647 w 218"/>
                      <a:gd name="T29" fmla="*/ 2147483647 h 217"/>
                      <a:gd name="T30" fmla="*/ 2147483647 w 218"/>
                      <a:gd name="T31" fmla="*/ 2147483647 h 217"/>
                      <a:gd name="T32" fmla="*/ 2147483647 w 218"/>
                      <a:gd name="T33" fmla="*/ 2147483647 h 217"/>
                      <a:gd name="T34" fmla="*/ 2147483647 w 218"/>
                      <a:gd name="T35" fmla="*/ 2147483647 h 217"/>
                      <a:gd name="T36" fmla="*/ 2147483647 w 218"/>
                      <a:gd name="T37" fmla="*/ 2147483647 h 217"/>
                      <a:gd name="T38" fmla="*/ 2147483647 w 218"/>
                      <a:gd name="T39" fmla="*/ 2147483647 h 217"/>
                      <a:gd name="T40" fmla="*/ 2147483647 w 218"/>
                      <a:gd name="T41" fmla="*/ 2147483647 h 217"/>
                      <a:gd name="T42" fmla="*/ 2147483647 w 218"/>
                      <a:gd name="T43" fmla="*/ 2147483647 h 217"/>
                      <a:gd name="T44" fmla="*/ 2147483647 w 218"/>
                      <a:gd name="T45" fmla="*/ 2147483647 h 217"/>
                      <a:gd name="T46" fmla="*/ 2147483647 w 218"/>
                      <a:gd name="T47" fmla="*/ 2147483647 h 217"/>
                      <a:gd name="T48" fmla="*/ 2147483647 w 218"/>
                      <a:gd name="T49" fmla="*/ 2147483647 h 217"/>
                      <a:gd name="T50" fmla="*/ 2147483647 w 218"/>
                      <a:gd name="T51" fmla="*/ 2147483647 h 217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218"/>
                      <a:gd name="T79" fmla="*/ 0 h 217"/>
                      <a:gd name="T80" fmla="*/ 218 w 218"/>
                      <a:gd name="T81" fmla="*/ 217 h 217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218" h="217">
                        <a:moveTo>
                          <a:pt x="105" y="34"/>
                        </a:moveTo>
                        <a:lnTo>
                          <a:pt x="96" y="0"/>
                        </a:lnTo>
                        <a:lnTo>
                          <a:pt x="17" y="0"/>
                        </a:lnTo>
                        <a:lnTo>
                          <a:pt x="35" y="43"/>
                        </a:lnTo>
                        <a:lnTo>
                          <a:pt x="26" y="61"/>
                        </a:lnTo>
                        <a:lnTo>
                          <a:pt x="44" y="95"/>
                        </a:lnTo>
                        <a:lnTo>
                          <a:pt x="35" y="113"/>
                        </a:lnTo>
                        <a:lnTo>
                          <a:pt x="9" y="139"/>
                        </a:lnTo>
                        <a:lnTo>
                          <a:pt x="9" y="174"/>
                        </a:lnTo>
                        <a:lnTo>
                          <a:pt x="0" y="209"/>
                        </a:lnTo>
                        <a:lnTo>
                          <a:pt x="17" y="209"/>
                        </a:lnTo>
                        <a:lnTo>
                          <a:pt x="44" y="200"/>
                        </a:lnTo>
                        <a:lnTo>
                          <a:pt x="78" y="209"/>
                        </a:lnTo>
                        <a:lnTo>
                          <a:pt x="122" y="209"/>
                        </a:lnTo>
                        <a:lnTo>
                          <a:pt x="122" y="217"/>
                        </a:lnTo>
                        <a:lnTo>
                          <a:pt x="166" y="217"/>
                        </a:lnTo>
                        <a:lnTo>
                          <a:pt x="200" y="209"/>
                        </a:lnTo>
                        <a:lnTo>
                          <a:pt x="183" y="191"/>
                        </a:lnTo>
                        <a:lnTo>
                          <a:pt x="183" y="130"/>
                        </a:lnTo>
                        <a:lnTo>
                          <a:pt x="218" y="122"/>
                        </a:lnTo>
                        <a:lnTo>
                          <a:pt x="218" y="95"/>
                        </a:lnTo>
                        <a:lnTo>
                          <a:pt x="183" y="69"/>
                        </a:lnTo>
                        <a:lnTo>
                          <a:pt x="183" y="17"/>
                        </a:lnTo>
                        <a:lnTo>
                          <a:pt x="139" y="17"/>
                        </a:lnTo>
                        <a:lnTo>
                          <a:pt x="131" y="34"/>
                        </a:lnTo>
                        <a:lnTo>
                          <a:pt x="10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89" name="Freeform 557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0" name="Freeform 558"/>
                  <p:cNvSpPr>
                    <a:spLocks/>
                  </p:cNvSpPr>
                  <p:nvPr/>
                </p:nvSpPr>
                <p:spPr bwMode="auto">
                  <a:xfrm>
                    <a:off x="5137151" y="3925888"/>
                    <a:ext cx="290513" cy="317500"/>
                  </a:xfrm>
                  <a:custGeom>
                    <a:avLst/>
                    <a:gdLst>
                      <a:gd name="T0" fmla="*/ 2147483647 w 183"/>
                      <a:gd name="T1" fmla="*/ 2147483647 h 200"/>
                      <a:gd name="T2" fmla="*/ 2147483647 w 183"/>
                      <a:gd name="T3" fmla="*/ 2147483647 h 200"/>
                      <a:gd name="T4" fmla="*/ 2147483647 w 183"/>
                      <a:gd name="T5" fmla="*/ 0 h 200"/>
                      <a:gd name="T6" fmla="*/ 2147483647 w 183"/>
                      <a:gd name="T7" fmla="*/ 2147483647 h 200"/>
                      <a:gd name="T8" fmla="*/ 2147483647 w 183"/>
                      <a:gd name="T9" fmla="*/ 2147483647 h 200"/>
                      <a:gd name="T10" fmla="*/ 2147483647 w 183"/>
                      <a:gd name="T11" fmla="*/ 2147483647 h 200"/>
                      <a:gd name="T12" fmla="*/ 2147483647 w 183"/>
                      <a:gd name="T13" fmla="*/ 0 h 200"/>
                      <a:gd name="T14" fmla="*/ 2147483647 w 183"/>
                      <a:gd name="T15" fmla="*/ 0 h 200"/>
                      <a:gd name="T16" fmla="*/ 2147483647 w 183"/>
                      <a:gd name="T17" fmla="*/ 2147483647 h 200"/>
                      <a:gd name="T18" fmla="*/ 2147483647 w 183"/>
                      <a:gd name="T19" fmla="*/ 2147483647 h 200"/>
                      <a:gd name="T20" fmla="*/ 2147483647 w 183"/>
                      <a:gd name="T21" fmla="*/ 2147483647 h 200"/>
                      <a:gd name="T22" fmla="*/ 0 w 183"/>
                      <a:gd name="T23" fmla="*/ 2147483647 h 200"/>
                      <a:gd name="T24" fmla="*/ 2147483647 w 183"/>
                      <a:gd name="T25" fmla="*/ 2147483647 h 200"/>
                      <a:gd name="T26" fmla="*/ 2147483647 w 183"/>
                      <a:gd name="T27" fmla="*/ 2147483647 h 200"/>
                      <a:gd name="T28" fmla="*/ 2147483647 w 183"/>
                      <a:gd name="T29" fmla="*/ 2147483647 h 200"/>
                      <a:gd name="T30" fmla="*/ 2147483647 w 183"/>
                      <a:gd name="T31" fmla="*/ 2147483647 h 200"/>
                      <a:gd name="T32" fmla="*/ 2147483647 w 183"/>
                      <a:gd name="T33" fmla="*/ 2147483647 h 200"/>
                      <a:gd name="T34" fmla="*/ 2147483647 w 183"/>
                      <a:gd name="T35" fmla="*/ 2147483647 h 200"/>
                      <a:gd name="T36" fmla="*/ 2147483647 w 183"/>
                      <a:gd name="T37" fmla="*/ 2147483647 h 200"/>
                      <a:gd name="T38" fmla="*/ 2147483647 w 183"/>
                      <a:gd name="T39" fmla="*/ 2147483647 h 200"/>
                      <a:gd name="T40" fmla="*/ 2147483647 w 183"/>
                      <a:gd name="T41" fmla="*/ 2147483647 h 200"/>
                      <a:gd name="T42" fmla="*/ 2147483647 w 183"/>
                      <a:gd name="T43" fmla="*/ 2147483647 h 200"/>
                      <a:gd name="T44" fmla="*/ 2147483647 w 183"/>
                      <a:gd name="T45" fmla="*/ 2147483647 h 200"/>
                      <a:gd name="T46" fmla="*/ 2147483647 w 183"/>
                      <a:gd name="T47" fmla="*/ 2147483647 h 20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83"/>
                      <a:gd name="T73" fmla="*/ 0 h 200"/>
                      <a:gd name="T74" fmla="*/ 183 w 183"/>
                      <a:gd name="T75" fmla="*/ 200 h 20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83" h="200">
                        <a:moveTo>
                          <a:pt x="174" y="61"/>
                        </a:moveTo>
                        <a:lnTo>
                          <a:pt x="140" y="35"/>
                        </a:lnTo>
                        <a:lnTo>
                          <a:pt x="87" y="0"/>
                        </a:lnTo>
                        <a:lnTo>
                          <a:pt x="79" y="8"/>
                        </a:lnTo>
                        <a:lnTo>
                          <a:pt x="7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  <a:lnTo>
                          <a:pt x="26" y="52"/>
                        </a:lnTo>
                        <a:lnTo>
                          <a:pt x="9" y="69"/>
                        </a:lnTo>
                        <a:lnTo>
                          <a:pt x="0" y="96"/>
                        </a:lnTo>
                        <a:lnTo>
                          <a:pt x="26" y="130"/>
                        </a:lnTo>
                        <a:lnTo>
                          <a:pt x="26" y="139"/>
                        </a:lnTo>
                        <a:lnTo>
                          <a:pt x="61" y="157"/>
                        </a:lnTo>
                        <a:lnTo>
                          <a:pt x="79" y="165"/>
                        </a:lnTo>
                        <a:lnTo>
                          <a:pt x="87" y="157"/>
                        </a:lnTo>
                        <a:lnTo>
                          <a:pt x="96" y="191"/>
                        </a:lnTo>
                        <a:lnTo>
                          <a:pt x="140" y="200"/>
                        </a:lnTo>
                        <a:lnTo>
                          <a:pt x="183" y="174"/>
                        </a:lnTo>
                        <a:lnTo>
                          <a:pt x="166" y="157"/>
                        </a:lnTo>
                        <a:lnTo>
                          <a:pt x="166" y="96"/>
                        </a:lnTo>
                        <a:lnTo>
                          <a:pt x="157" y="87"/>
                        </a:lnTo>
                        <a:lnTo>
                          <a:pt x="174" y="61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1" name="Freeform 559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2" name="Freeform 560"/>
                  <p:cNvSpPr>
                    <a:spLocks/>
                  </p:cNvSpPr>
                  <p:nvPr/>
                </p:nvSpPr>
                <p:spPr bwMode="auto">
                  <a:xfrm>
                    <a:off x="5275264" y="3773488"/>
                    <a:ext cx="207963" cy="249238"/>
                  </a:xfrm>
                  <a:custGeom>
                    <a:avLst/>
                    <a:gdLst>
                      <a:gd name="T0" fmla="*/ 2147483647 w 131"/>
                      <a:gd name="T1" fmla="*/ 2147483647 h 157"/>
                      <a:gd name="T2" fmla="*/ 2147483647 w 131"/>
                      <a:gd name="T3" fmla="*/ 2147483647 h 157"/>
                      <a:gd name="T4" fmla="*/ 2147483647 w 131"/>
                      <a:gd name="T5" fmla="*/ 0 h 157"/>
                      <a:gd name="T6" fmla="*/ 0 w 131"/>
                      <a:gd name="T7" fmla="*/ 0 h 157"/>
                      <a:gd name="T8" fmla="*/ 0 w 131"/>
                      <a:gd name="T9" fmla="*/ 2147483647 h 157"/>
                      <a:gd name="T10" fmla="*/ 2147483647 w 131"/>
                      <a:gd name="T11" fmla="*/ 2147483647 h 157"/>
                      <a:gd name="T12" fmla="*/ 0 w 131"/>
                      <a:gd name="T13" fmla="*/ 2147483647 h 157"/>
                      <a:gd name="T14" fmla="*/ 0 w 131"/>
                      <a:gd name="T15" fmla="*/ 2147483647 h 157"/>
                      <a:gd name="T16" fmla="*/ 2147483647 w 131"/>
                      <a:gd name="T17" fmla="*/ 2147483647 h 157"/>
                      <a:gd name="T18" fmla="*/ 2147483647 w 131"/>
                      <a:gd name="T19" fmla="*/ 2147483647 h 157"/>
                      <a:gd name="T20" fmla="*/ 2147483647 w 131"/>
                      <a:gd name="T21" fmla="*/ 2147483647 h 157"/>
                      <a:gd name="T22" fmla="*/ 2147483647 w 131"/>
                      <a:gd name="T23" fmla="*/ 2147483647 h 157"/>
                      <a:gd name="T24" fmla="*/ 2147483647 w 131"/>
                      <a:gd name="T25" fmla="*/ 2147483647 h 157"/>
                      <a:gd name="T26" fmla="*/ 2147483647 w 131"/>
                      <a:gd name="T27" fmla="*/ 2147483647 h 15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31"/>
                      <a:gd name="T43" fmla="*/ 0 h 157"/>
                      <a:gd name="T44" fmla="*/ 131 w 131"/>
                      <a:gd name="T45" fmla="*/ 157 h 15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31" h="157">
                        <a:moveTo>
                          <a:pt x="114" y="9"/>
                        </a:moveTo>
                        <a:lnTo>
                          <a:pt x="87" y="17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9" y="52"/>
                        </a:lnTo>
                        <a:lnTo>
                          <a:pt x="0" y="78"/>
                        </a:lnTo>
                        <a:lnTo>
                          <a:pt x="0" y="96"/>
                        </a:lnTo>
                        <a:lnTo>
                          <a:pt x="53" y="131"/>
                        </a:lnTo>
                        <a:lnTo>
                          <a:pt x="79" y="157"/>
                        </a:lnTo>
                        <a:lnTo>
                          <a:pt x="114" y="104"/>
                        </a:lnTo>
                        <a:lnTo>
                          <a:pt x="114" y="26"/>
                        </a:lnTo>
                        <a:lnTo>
                          <a:pt x="131" y="9"/>
                        </a:lnTo>
                        <a:lnTo>
                          <a:pt x="114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3" name="Freeform 561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4" name="Freeform 562"/>
                  <p:cNvSpPr>
                    <a:spLocks/>
                  </p:cNvSpPr>
                  <p:nvPr/>
                </p:nvSpPr>
                <p:spPr bwMode="auto">
                  <a:xfrm>
                    <a:off x="4679951" y="3744913"/>
                    <a:ext cx="527050" cy="512763"/>
                  </a:xfrm>
                  <a:custGeom>
                    <a:avLst/>
                    <a:gdLst>
                      <a:gd name="T0" fmla="*/ 2147483647 w 332"/>
                      <a:gd name="T1" fmla="*/ 2147483647 h 323"/>
                      <a:gd name="T2" fmla="*/ 2147483647 w 332"/>
                      <a:gd name="T3" fmla="*/ 2147483647 h 323"/>
                      <a:gd name="T4" fmla="*/ 2147483647 w 332"/>
                      <a:gd name="T5" fmla="*/ 2147483647 h 323"/>
                      <a:gd name="T6" fmla="*/ 2147483647 w 332"/>
                      <a:gd name="T7" fmla="*/ 0 h 323"/>
                      <a:gd name="T8" fmla="*/ 2147483647 w 332"/>
                      <a:gd name="T9" fmla="*/ 2147483647 h 323"/>
                      <a:gd name="T10" fmla="*/ 2147483647 w 332"/>
                      <a:gd name="T11" fmla="*/ 2147483647 h 323"/>
                      <a:gd name="T12" fmla="*/ 2147483647 w 332"/>
                      <a:gd name="T13" fmla="*/ 2147483647 h 323"/>
                      <a:gd name="T14" fmla="*/ 2147483647 w 332"/>
                      <a:gd name="T15" fmla="*/ 2147483647 h 323"/>
                      <a:gd name="T16" fmla="*/ 2147483647 w 332"/>
                      <a:gd name="T17" fmla="*/ 2147483647 h 323"/>
                      <a:gd name="T18" fmla="*/ 2147483647 w 332"/>
                      <a:gd name="T19" fmla="*/ 2147483647 h 323"/>
                      <a:gd name="T20" fmla="*/ 2147483647 w 332"/>
                      <a:gd name="T21" fmla="*/ 2147483647 h 323"/>
                      <a:gd name="T22" fmla="*/ 2147483647 w 332"/>
                      <a:gd name="T23" fmla="*/ 2147483647 h 323"/>
                      <a:gd name="T24" fmla="*/ 2147483647 w 332"/>
                      <a:gd name="T25" fmla="*/ 2147483647 h 323"/>
                      <a:gd name="T26" fmla="*/ 2147483647 w 332"/>
                      <a:gd name="T27" fmla="*/ 2147483647 h 323"/>
                      <a:gd name="T28" fmla="*/ 2147483647 w 332"/>
                      <a:gd name="T29" fmla="*/ 2147483647 h 323"/>
                      <a:gd name="T30" fmla="*/ 0 w 332"/>
                      <a:gd name="T31" fmla="*/ 2147483647 h 323"/>
                      <a:gd name="T32" fmla="*/ 2147483647 w 332"/>
                      <a:gd name="T33" fmla="*/ 2147483647 h 323"/>
                      <a:gd name="T34" fmla="*/ 2147483647 w 332"/>
                      <a:gd name="T35" fmla="*/ 2147483647 h 323"/>
                      <a:gd name="T36" fmla="*/ 2147483647 w 332"/>
                      <a:gd name="T37" fmla="*/ 2147483647 h 323"/>
                      <a:gd name="T38" fmla="*/ 2147483647 w 332"/>
                      <a:gd name="T39" fmla="*/ 2147483647 h 323"/>
                      <a:gd name="T40" fmla="*/ 2147483647 w 332"/>
                      <a:gd name="T41" fmla="*/ 2147483647 h 323"/>
                      <a:gd name="T42" fmla="*/ 2147483647 w 332"/>
                      <a:gd name="T43" fmla="*/ 2147483647 h 323"/>
                      <a:gd name="T44" fmla="*/ 2147483647 w 332"/>
                      <a:gd name="T45" fmla="*/ 2147483647 h 323"/>
                      <a:gd name="T46" fmla="*/ 2147483647 w 332"/>
                      <a:gd name="T47" fmla="*/ 2147483647 h 323"/>
                      <a:gd name="T48" fmla="*/ 2147483647 w 332"/>
                      <a:gd name="T49" fmla="*/ 2147483647 h 323"/>
                      <a:gd name="T50" fmla="*/ 2147483647 w 332"/>
                      <a:gd name="T51" fmla="*/ 2147483647 h 323"/>
                      <a:gd name="T52" fmla="*/ 2147483647 w 332"/>
                      <a:gd name="T53" fmla="*/ 2147483647 h 323"/>
                      <a:gd name="T54" fmla="*/ 2147483647 w 332"/>
                      <a:gd name="T55" fmla="*/ 2147483647 h 323"/>
                      <a:gd name="T56" fmla="*/ 2147483647 w 332"/>
                      <a:gd name="T57" fmla="*/ 2147483647 h 323"/>
                      <a:gd name="T58" fmla="*/ 2147483647 w 332"/>
                      <a:gd name="T59" fmla="*/ 2147483647 h 323"/>
                      <a:gd name="T60" fmla="*/ 2147483647 w 332"/>
                      <a:gd name="T61" fmla="*/ 2147483647 h 323"/>
                      <a:gd name="T62" fmla="*/ 2147483647 w 332"/>
                      <a:gd name="T63" fmla="*/ 2147483647 h 323"/>
                      <a:gd name="T64" fmla="*/ 2147483647 w 332"/>
                      <a:gd name="T65" fmla="*/ 2147483647 h 323"/>
                      <a:gd name="T66" fmla="*/ 2147483647 w 332"/>
                      <a:gd name="T67" fmla="*/ 2147483647 h 323"/>
                      <a:gd name="T68" fmla="*/ 2147483647 w 332"/>
                      <a:gd name="T69" fmla="*/ 2147483647 h 323"/>
                      <a:gd name="T70" fmla="*/ 2147483647 w 332"/>
                      <a:gd name="T71" fmla="*/ 2147483647 h 323"/>
                      <a:gd name="T72" fmla="*/ 2147483647 w 332"/>
                      <a:gd name="T73" fmla="*/ 2147483647 h 323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32"/>
                      <a:gd name="T112" fmla="*/ 0 h 323"/>
                      <a:gd name="T113" fmla="*/ 332 w 332"/>
                      <a:gd name="T114" fmla="*/ 323 h 323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32" h="323">
                        <a:moveTo>
                          <a:pt x="323" y="35"/>
                        </a:moveTo>
                        <a:lnTo>
                          <a:pt x="297" y="18"/>
                        </a:lnTo>
                        <a:lnTo>
                          <a:pt x="253" y="18"/>
                        </a:lnTo>
                        <a:lnTo>
                          <a:pt x="253" y="0"/>
                        </a:lnTo>
                        <a:lnTo>
                          <a:pt x="244" y="9"/>
                        </a:lnTo>
                        <a:lnTo>
                          <a:pt x="157" y="27"/>
                        </a:lnTo>
                        <a:lnTo>
                          <a:pt x="131" y="9"/>
                        </a:lnTo>
                        <a:lnTo>
                          <a:pt x="105" y="35"/>
                        </a:lnTo>
                        <a:lnTo>
                          <a:pt x="96" y="61"/>
                        </a:lnTo>
                        <a:lnTo>
                          <a:pt x="88" y="122"/>
                        </a:lnTo>
                        <a:lnTo>
                          <a:pt x="70" y="131"/>
                        </a:lnTo>
                        <a:lnTo>
                          <a:pt x="70" y="166"/>
                        </a:lnTo>
                        <a:lnTo>
                          <a:pt x="44" y="183"/>
                        </a:lnTo>
                        <a:lnTo>
                          <a:pt x="18" y="183"/>
                        </a:lnTo>
                        <a:lnTo>
                          <a:pt x="9" y="201"/>
                        </a:lnTo>
                        <a:lnTo>
                          <a:pt x="0" y="210"/>
                        </a:lnTo>
                        <a:lnTo>
                          <a:pt x="79" y="210"/>
                        </a:lnTo>
                        <a:lnTo>
                          <a:pt x="88" y="244"/>
                        </a:lnTo>
                        <a:lnTo>
                          <a:pt x="114" y="244"/>
                        </a:lnTo>
                        <a:lnTo>
                          <a:pt x="122" y="227"/>
                        </a:lnTo>
                        <a:lnTo>
                          <a:pt x="166" y="227"/>
                        </a:lnTo>
                        <a:lnTo>
                          <a:pt x="166" y="279"/>
                        </a:lnTo>
                        <a:lnTo>
                          <a:pt x="201" y="305"/>
                        </a:lnTo>
                        <a:lnTo>
                          <a:pt x="218" y="305"/>
                        </a:lnTo>
                        <a:lnTo>
                          <a:pt x="236" y="323"/>
                        </a:lnTo>
                        <a:lnTo>
                          <a:pt x="262" y="314"/>
                        </a:lnTo>
                        <a:lnTo>
                          <a:pt x="288" y="253"/>
                        </a:lnTo>
                        <a:lnTo>
                          <a:pt x="314" y="253"/>
                        </a:lnTo>
                        <a:lnTo>
                          <a:pt x="314" y="244"/>
                        </a:lnTo>
                        <a:lnTo>
                          <a:pt x="288" y="210"/>
                        </a:lnTo>
                        <a:lnTo>
                          <a:pt x="297" y="183"/>
                        </a:lnTo>
                        <a:lnTo>
                          <a:pt x="288" y="149"/>
                        </a:lnTo>
                        <a:lnTo>
                          <a:pt x="279" y="140"/>
                        </a:lnTo>
                        <a:lnTo>
                          <a:pt x="297" y="122"/>
                        </a:lnTo>
                        <a:lnTo>
                          <a:pt x="297" y="96"/>
                        </a:lnTo>
                        <a:lnTo>
                          <a:pt x="332" y="61"/>
                        </a:lnTo>
                        <a:lnTo>
                          <a:pt x="323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5" name="Freeform 563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6" name="Freeform 564"/>
                  <p:cNvSpPr>
                    <a:spLocks/>
                  </p:cNvSpPr>
                  <p:nvPr/>
                </p:nvSpPr>
                <p:spPr bwMode="auto">
                  <a:xfrm>
                    <a:off x="4638676" y="3800475"/>
                    <a:ext cx="207963" cy="234950"/>
                  </a:xfrm>
                  <a:custGeom>
                    <a:avLst/>
                    <a:gdLst>
                      <a:gd name="T0" fmla="*/ 2147483647 w 131"/>
                      <a:gd name="T1" fmla="*/ 2147483647 h 148"/>
                      <a:gd name="T2" fmla="*/ 2147483647 w 131"/>
                      <a:gd name="T3" fmla="*/ 0 h 148"/>
                      <a:gd name="T4" fmla="*/ 2147483647 w 131"/>
                      <a:gd name="T5" fmla="*/ 2147483647 h 148"/>
                      <a:gd name="T6" fmla="*/ 2147483647 w 131"/>
                      <a:gd name="T7" fmla="*/ 2147483647 h 148"/>
                      <a:gd name="T8" fmla="*/ 2147483647 w 131"/>
                      <a:gd name="T9" fmla="*/ 2147483647 h 148"/>
                      <a:gd name="T10" fmla="*/ 2147483647 w 131"/>
                      <a:gd name="T11" fmla="*/ 2147483647 h 148"/>
                      <a:gd name="T12" fmla="*/ 2147483647 w 131"/>
                      <a:gd name="T13" fmla="*/ 2147483647 h 148"/>
                      <a:gd name="T14" fmla="*/ 2147483647 w 131"/>
                      <a:gd name="T15" fmla="*/ 2147483647 h 148"/>
                      <a:gd name="T16" fmla="*/ 2147483647 w 131"/>
                      <a:gd name="T17" fmla="*/ 2147483647 h 148"/>
                      <a:gd name="T18" fmla="*/ 2147483647 w 131"/>
                      <a:gd name="T19" fmla="*/ 2147483647 h 148"/>
                      <a:gd name="T20" fmla="*/ 2147483647 w 131"/>
                      <a:gd name="T21" fmla="*/ 2147483647 h 148"/>
                      <a:gd name="T22" fmla="*/ 2147483647 w 131"/>
                      <a:gd name="T23" fmla="*/ 2147483647 h 148"/>
                      <a:gd name="T24" fmla="*/ 0 w 131"/>
                      <a:gd name="T25" fmla="*/ 2147483647 h 148"/>
                      <a:gd name="T26" fmla="*/ 2147483647 w 131"/>
                      <a:gd name="T27" fmla="*/ 2147483647 h 148"/>
                      <a:gd name="T28" fmla="*/ 2147483647 w 131"/>
                      <a:gd name="T29" fmla="*/ 2147483647 h 148"/>
                      <a:gd name="T30" fmla="*/ 2147483647 w 131"/>
                      <a:gd name="T31" fmla="*/ 2147483647 h 148"/>
                      <a:gd name="T32" fmla="*/ 2147483647 w 131"/>
                      <a:gd name="T33" fmla="*/ 2147483647 h 148"/>
                      <a:gd name="T34" fmla="*/ 2147483647 w 131"/>
                      <a:gd name="T35" fmla="*/ 2147483647 h 148"/>
                      <a:gd name="T36" fmla="*/ 2147483647 w 131"/>
                      <a:gd name="T37" fmla="*/ 2147483647 h 148"/>
                      <a:gd name="T38" fmla="*/ 2147483647 w 131"/>
                      <a:gd name="T39" fmla="*/ 2147483647 h 148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148"/>
                      <a:gd name="T62" fmla="*/ 131 w 131"/>
                      <a:gd name="T63" fmla="*/ 148 h 148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148">
                        <a:moveTo>
                          <a:pt x="122" y="26"/>
                        </a:moveTo>
                        <a:lnTo>
                          <a:pt x="131" y="0"/>
                        </a:lnTo>
                        <a:lnTo>
                          <a:pt x="96" y="9"/>
                        </a:lnTo>
                        <a:lnTo>
                          <a:pt x="87" y="35"/>
                        </a:lnTo>
                        <a:lnTo>
                          <a:pt x="44" y="26"/>
                        </a:lnTo>
                        <a:lnTo>
                          <a:pt x="53" y="44"/>
                        </a:lnTo>
                        <a:lnTo>
                          <a:pt x="61" y="44"/>
                        </a:lnTo>
                        <a:lnTo>
                          <a:pt x="61" y="61"/>
                        </a:lnTo>
                        <a:lnTo>
                          <a:pt x="70" y="87"/>
                        </a:lnTo>
                        <a:lnTo>
                          <a:pt x="61" y="105"/>
                        </a:lnTo>
                        <a:lnTo>
                          <a:pt x="26" y="105"/>
                        </a:lnTo>
                        <a:lnTo>
                          <a:pt x="26" y="131"/>
                        </a:lnTo>
                        <a:lnTo>
                          <a:pt x="0" y="140"/>
                        </a:lnTo>
                        <a:lnTo>
                          <a:pt x="18" y="148"/>
                        </a:lnTo>
                        <a:lnTo>
                          <a:pt x="44" y="148"/>
                        </a:lnTo>
                        <a:lnTo>
                          <a:pt x="70" y="148"/>
                        </a:lnTo>
                        <a:lnTo>
                          <a:pt x="96" y="131"/>
                        </a:lnTo>
                        <a:lnTo>
                          <a:pt x="96" y="96"/>
                        </a:lnTo>
                        <a:lnTo>
                          <a:pt x="114" y="87"/>
                        </a:lnTo>
                        <a:lnTo>
                          <a:pt x="122" y="26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7" name="Freeform 565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8" name="Freeform 566"/>
                  <p:cNvSpPr>
                    <a:spLocks/>
                  </p:cNvSpPr>
                  <p:nvPr/>
                </p:nvSpPr>
                <p:spPr bwMode="auto">
                  <a:xfrm>
                    <a:off x="5137151" y="3967163"/>
                    <a:ext cx="41275" cy="68263"/>
                  </a:xfrm>
                  <a:custGeom>
                    <a:avLst/>
                    <a:gdLst>
                      <a:gd name="T0" fmla="*/ 2147483647 w 26"/>
                      <a:gd name="T1" fmla="*/ 2147483647 h 43"/>
                      <a:gd name="T2" fmla="*/ 2147483647 w 26"/>
                      <a:gd name="T3" fmla="*/ 2147483647 h 43"/>
                      <a:gd name="T4" fmla="*/ 2147483647 w 26"/>
                      <a:gd name="T5" fmla="*/ 0 h 43"/>
                      <a:gd name="T6" fmla="*/ 0 w 26"/>
                      <a:gd name="T7" fmla="*/ 2147483647 h 43"/>
                      <a:gd name="T8" fmla="*/ 2147483647 w 26"/>
                      <a:gd name="T9" fmla="*/ 2147483647 h 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43"/>
                      <a:gd name="T17" fmla="*/ 26 w 26"/>
                      <a:gd name="T18" fmla="*/ 43 h 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43">
                        <a:moveTo>
                          <a:pt x="9" y="43"/>
                        </a:moveTo>
                        <a:lnTo>
                          <a:pt x="26" y="26"/>
                        </a:lnTo>
                        <a:lnTo>
                          <a:pt x="26" y="0"/>
                        </a:lnTo>
                        <a:lnTo>
                          <a:pt x="0" y="9"/>
                        </a:lnTo>
                        <a:lnTo>
                          <a:pt x="9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99" name="Freeform 567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0" name="Freeform 568"/>
                  <p:cNvSpPr>
                    <a:spLocks/>
                  </p:cNvSpPr>
                  <p:nvPr/>
                </p:nvSpPr>
                <p:spPr bwMode="auto">
                  <a:xfrm>
                    <a:off x="5122864" y="3925888"/>
                    <a:ext cx="55563" cy="55563"/>
                  </a:xfrm>
                  <a:custGeom>
                    <a:avLst/>
                    <a:gdLst>
                      <a:gd name="T0" fmla="*/ 2147483647 w 35"/>
                      <a:gd name="T1" fmla="*/ 0 h 35"/>
                      <a:gd name="T2" fmla="*/ 2147483647 w 35"/>
                      <a:gd name="T3" fmla="*/ 2147483647 h 35"/>
                      <a:gd name="T4" fmla="*/ 0 w 35"/>
                      <a:gd name="T5" fmla="*/ 2147483647 h 35"/>
                      <a:gd name="T6" fmla="*/ 2147483647 w 35"/>
                      <a:gd name="T7" fmla="*/ 2147483647 h 35"/>
                      <a:gd name="T8" fmla="*/ 2147483647 w 35"/>
                      <a:gd name="T9" fmla="*/ 2147483647 h 35"/>
                      <a:gd name="T10" fmla="*/ 2147483647 w 35"/>
                      <a:gd name="T11" fmla="*/ 0 h 3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5"/>
                      <a:gd name="T19" fmla="*/ 0 h 35"/>
                      <a:gd name="T20" fmla="*/ 35 w 35"/>
                      <a:gd name="T21" fmla="*/ 35 h 3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5" h="35">
                        <a:moveTo>
                          <a:pt x="35" y="0"/>
                        </a:moveTo>
                        <a:lnTo>
                          <a:pt x="18" y="8"/>
                        </a:lnTo>
                        <a:lnTo>
                          <a:pt x="0" y="26"/>
                        </a:lnTo>
                        <a:lnTo>
                          <a:pt x="9" y="35"/>
                        </a:lnTo>
                        <a:lnTo>
                          <a:pt x="35" y="26"/>
                        </a:lnTo>
                        <a:lnTo>
                          <a:pt x="3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1" name="Freeform 569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2" name="Freeform 570"/>
                  <p:cNvSpPr>
                    <a:spLocks/>
                  </p:cNvSpPr>
                  <p:nvPr/>
                </p:nvSpPr>
                <p:spPr bwMode="auto">
                  <a:xfrm>
                    <a:off x="5151439" y="3787775"/>
                    <a:ext cx="138113" cy="150813"/>
                  </a:xfrm>
                  <a:custGeom>
                    <a:avLst/>
                    <a:gdLst>
                      <a:gd name="T0" fmla="*/ 2147483647 w 87"/>
                      <a:gd name="T1" fmla="*/ 2147483647 h 95"/>
                      <a:gd name="T2" fmla="*/ 2147483647 w 87"/>
                      <a:gd name="T3" fmla="*/ 0 h 95"/>
                      <a:gd name="T4" fmla="*/ 2147483647 w 87"/>
                      <a:gd name="T5" fmla="*/ 2147483647 h 95"/>
                      <a:gd name="T6" fmla="*/ 2147483647 w 87"/>
                      <a:gd name="T7" fmla="*/ 2147483647 h 95"/>
                      <a:gd name="T8" fmla="*/ 0 w 87"/>
                      <a:gd name="T9" fmla="*/ 2147483647 h 95"/>
                      <a:gd name="T10" fmla="*/ 0 w 87"/>
                      <a:gd name="T11" fmla="*/ 2147483647 h 95"/>
                      <a:gd name="T12" fmla="*/ 2147483647 w 87"/>
                      <a:gd name="T13" fmla="*/ 2147483647 h 95"/>
                      <a:gd name="T14" fmla="*/ 2147483647 w 87"/>
                      <a:gd name="T15" fmla="*/ 2147483647 h 95"/>
                      <a:gd name="T16" fmla="*/ 2147483647 w 87"/>
                      <a:gd name="T17" fmla="*/ 2147483647 h 95"/>
                      <a:gd name="T18" fmla="*/ 2147483647 w 87"/>
                      <a:gd name="T19" fmla="*/ 2147483647 h 95"/>
                      <a:gd name="T20" fmla="*/ 2147483647 w 87"/>
                      <a:gd name="T21" fmla="*/ 2147483647 h 95"/>
                      <a:gd name="T22" fmla="*/ 2147483647 w 87"/>
                      <a:gd name="T23" fmla="*/ 2147483647 h 95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87"/>
                      <a:gd name="T37" fmla="*/ 0 h 95"/>
                      <a:gd name="T38" fmla="*/ 87 w 87"/>
                      <a:gd name="T39" fmla="*/ 95 h 95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87" h="95">
                        <a:moveTo>
                          <a:pt x="87" y="43"/>
                        </a:moveTo>
                        <a:lnTo>
                          <a:pt x="78" y="0"/>
                        </a:lnTo>
                        <a:lnTo>
                          <a:pt x="26" y="8"/>
                        </a:lnTo>
                        <a:lnTo>
                          <a:pt x="35" y="34"/>
                        </a:lnTo>
                        <a:lnTo>
                          <a:pt x="0" y="69"/>
                        </a:lnTo>
                        <a:lnTo>
                          <a:pt x="0" y="95"/>
                        </a:lnTo>
                        <a:lnTo>
                          <a:pt x="17" y="87"/>
                        </a:lnTo>
                        <a:lnTo>
                          <a:pt x="35" y="87"/>
                        </a:lnTo>
                        <a:lnTo>
                          <a:pt x="43" y="78"/>
                        </a:lnTo>
                        <a:lnTo>
                          <a:pt x="70" y="52"/>
                        </a:lnTo>
                        <a:lnTo>
                          <a:pt x="78" y="69"/>
                        </a:lnTo>
                        <a:lnTo>
                          <a:pt x="87" y="43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3" name="Freeform 571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4" name="Freeform 572"/>
                  <p:cNvSpPr>
                    <a:spLocks/>
                  </p:cNvSpPr>
                  <p:nvPr/>
                </p:nvSpPr>
                <p:spPr bwMode="auto">
                  <a:xfrm>
                    <a:off x="4722814" y="3233738"/>
                    <a:ext cx="261938" cy="457200"/>
                  </a:xfrm>
                  <a:custGeom>
                    <a:avLst/>
                    <a:gdLst>
                      <a:gd name="T0" fmla="*/ 2147483647 w 165"/>
                      <a:gd name="T1" fmla="*/ 0 h 288"/>
                      <a:gd name="T2" fmla="*/ 2147483647 w 165"/>
                      <a:gd name="T3" fmla="*/ 2147483647 h 288"/>
                      <a:gd name="T4" fmla="*/ 2147483647 w 165"/>
                      <a:gd name="T5" fmla="*/ 2147483647 h 288"/>
                      <a:gd name="T6" fmla="*/ 2147483647 w 165"/>
                      <a:gd name="T7" fmla="*/ 2147483647 h 288"/>
                      <a:gd name="T8" fmla="*/ 2147483647 w 165"/>
                      <a:gd name="T9" fmla="*/ 2147483647 h 288"/>
                      <a:gd name="T10" fmla="*/ 2147483647 w 165"/>
                      <a:gd name="T11" fmla="*/ 2147483647 h 288"/>
                      <a:gd name="T12" fmla="*/ 2147483647 w 165"/>
                      <a:gd name="T13" fmla="*/ 2147483647 h 288"/>
                      <a:gd name="T14" fmla="*/ 0 w 165"/>
                      <a:gd name="T15" fmla="*/ 2147483647 h 288"/>
                      <a:gd name="T16" fmla="*/ 2147483647 w 165"/>
                      <a:gd name="T17" fmla="*/ 2147483647 h 288"/>
                      <a:gd name="T18" fmla="*/ 2147483647 w 165"/>
                      <a:gd name="T19" fmla="*/ 2147483647 h 288"/>
                      <a:gd name="T20" fmla="*/ 2147483647 w 165"/>
                      <a:gd name="T21" fmla="*/ 2147483647 h 288"/>
                      <a:gd name="T22" fmla="*/ 2147483647 w 165"/>
                      <a:gd name="T23" fmla="*/ 2147483647 h 288"/>
                      <a:gd name="T24" fmla="*/ 2147483647 w 165"/>
                      <a:gd name="T25" fmla="*/ 2147483647 h 288"/>
                      <a:gd name="T26" fmla="*/ 2147483647 w 165"/>
                      <a:gd name="T27" fmla="*/ 2147483647 h 288"/>
                      <a:gd name="T28" fmla="*/ 2147483647 w 165"/>
                      <a:gd name="T29" fmla="*/ 2147483647 h 288"/>
                      <a:gd name="T30" fmla="*/ 2147483647 w 165"/>
                      <a:gd name="T31" fmla="*/ 2147483647 h 288"/>
                      <a:gd name="T32" fmla="*/ 2147483647 w 165"/>
                      <a:gd name="T33" fmla="*/ 2147483647 h 288"/>
                      <a:gd name="T34" fmla="*/ 2147483647 w 165"/>
                      <a:gd name="T35" fmla="*/ 2147483647 h 288"/>
                      <a:gd name="T36" fmla="*/ 2147483647 w 165"/>
                      <a:gd name="T37" fmla="*/ 2147483647 h 288"/>
                      <a:gd name="T38" fmla="*/ 2147483647 w 165"/>
                      <a:gd name="T39" fmla="*/ 2147483647 h 288"/>
                      <a:gd name="T40" fmla="*/ 2147483647 w 165"/>
                      <a:gd name="T41" fmla="*/ 2147483647 h 288"/>
                      <a:gd name="T42" fmla="*/ 2147483647 w 165"/>
                      <a:gd name="T43" fmla="*/ 0 h 288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65"/>
                      <a:gd name="T67" fmla="*/ 0 h 288"/>
                      <a:gd name="T68" fmla="*/ 165 w 165"/>
                      <a:gd name="T69" fmla="*/ 288 h 288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65" h="288">
                        <a:moveTo>
                          <a:pt x="34" y="0"/>
                        </a:moveTo>
                        <a:lnTo>
                          <a:pt x="17" y="9"/>
                        </a:lnTo>
                        <a:lnTo>
                          <a:pt x="17" y="26"/>
                        </a:lnTo>
                        <a:lnTo>
                          <a:pt x="34" y="61"/>
                        </a:lnTo>
                        <a:lnTo>
                          <a:pt x="26" y="70"/>
                        </a:lnTo>
                        <a:lnTo>
                          <a:pt x="26" y="113"/>
                        </a:lnTo>
                        <a:lnTo>
                          <a:pt x="8" y="139"/>
                        </a:lnTo>
                        <a:lnTo>
                          <a:pt x="0" y="174"/>
                        </a:lnTo>
                        <a:lnTo>
                          <a:pt x="17" y="183"/>
                        </a:lnTo>
                        <a:lnTo>
                          <a:pt x="34" y="235"/>
                        </a:lnTo>
                        <a:lnTo>
                          <a:pt x="8" y="244"/>
                        </a:lnTo>
                        <a:lnTo>
                          <a:pt x="26" y="288"/>
                        </a:lnTo>
                        <a:lnTo>
                          <a:pt x="87" y="261"/>
                        </a:lnTo>
                        <a:lnTo>
                          <a:pt x="104" y="261"/>
                        </a:lnTo>
                        <a:lnTo>
                          <a:pt x="130" y="235"/>
                        </a:lnTo>
                        <a:lnTo>
                          <a:pt x="148" y="227"/>
                        </a:lnTo>
                        <a:lnTo>
                          <a:pt x="130" y="192"/>
                        </a:lnTo>
                        <a:lnTo>
                          <a:pt x="139" y="166"/>
                        </a:lnTo>
                        <a:lnTo>
                          <a:pt x="165" y="139"/>
                        </a:lnTo>
                        <a:lnTo>
                          <a:pt x="165" y="70"/>
                        </a:lnTo>
                        <a:lnTo>
                          <a:pt x="3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5" name="Freeform 573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6" name="Freeform 574"/>
                  <p:cNvSpPr>
                    <a:spLocks/>
                  </p:cNvSpPr>
                  <p:nvPr/>
                </p:nvSpPr>
                <p:spPr bwMode="auto">
                  <a:xfrm>
                    <a:off x="4735514" y="3594100"/>
                    <a:ext cx="346075" cy="220663"/>
                  </a:xfrm>
                  <a:custGeom>
                    <a:avLst/>
                    <a:gdLst>
                      <a:gd name="T0" fmla="*/ 2147483647 w 218"/>
                      <a:gd name="T1" fmla="*/ 2147483647 h 139"/>
                      <a:gd name="T2" fmla="*/ 2147483647 w 218"/>
                      <a:gd name="T3" fmla="*/ 2147483647 h 139"/>
                      <a:gd name="T4" fmla="*/ 2147483647 w 218"/>
                      <a:gd name="T5" fmla="*/ 2147483647 h 139"/>
                      <a:gd name="T6" fmla="*/ 2147483647 w 218"/>
                      <a:gd name="T7" fmla="*/ 0 h 139"/>
                      <a:gd name="T8" fmla="*/ 2147483647 w 218"/>
                      <a:gd name="T9" fmla="*/ 2147483647 h 139"/>
                      <a:gd name="T10" fmla="*/ 2147483647 w 218"/>
                      <a:gd name="T11" fmla="*/ 2147483647 h 139"/>
                      <a:gd name="T12" fmla="*/ 2147483647 w 218"/>
                      <a:gd name="T13" fmla="*/ 2147483647 h 139"/>
                      <a:gd name="T14" fmla="*/ 2147483647 w 218"/>
                      <a:gd name="T15" fmla="*/ 2147483647 h 139"/>
                      <a:gd name="T16" fmla="*/ 2147483647 w 218"/>
                      <a:gd name="T17" fmla="*/ 2147483647 h 139"/>
                      <a:gd name="T18" fmla="*/ 0 w 218"/>
                      <a:gd name="T19" fmla="*/ 2147483647 h 139"/>
                      <a:gd name="T20" fmla="*/ 0 w 218"/>
                      <a:gd name="T21" fmla="*/ 2147483647 h 139"/>
                      <a:gd name="T22" fmla="*/ 2147483647 w 218"/>
                      <a:gd name="T23" fmla="*/ 2147483647 h 139"/>
                      <a:gd name="T24" fmla="*/ 2147483647 w 218"/>
                      <a:gd name="T25" fmla="*/ 2147483647 h 139"/>
                      <a:gd name="T26" fmla="*/ 2147483647 w 218"/>
                      <a:gd name="T27" fmla="*/ 2147483647 h 139"/>
                      <a:gd name="T28" fmla="*/ 2147483647 w 218"/>
                      <a:gd name="T29" fmla="*/ 2147483647 h 139"/>
                      <a:gd name="T30" fmla="*/ 2147483647 w 218"/>
                      <a:gd name="T31" fmla="*/ 2147483647 h 139"/>
                      <a:gd name="T32" fmla="*/ 2147483647 w 218"/>
                      <a:gd name="T33" fmla="*/ 2147483647 h 13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8"/>
                      <a:gd name="T52" fmla="*/ 0 h 139"/>
                      <a:gd name="T53" fmla="*/ 218 w 218"/>
                      <a:gd name="T54" fmla="*/ 139 h 13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8" h="139">
                        <a:moveTo>
                          <a:pt x="218" y="95"/>
                        </a:moveTo>
                        <a:lnTo>
                          <a:pt x="183" y="52"/>
                        </a:lnTo>
                        <a:lnTo>
                          <a:pt x="166" y="52"/>
                        </a:lnTo>
                        <a:lnTo>
                          <a:pt x="140" y="0"/>
                        </a:lnTo>
                        <a:lnTo>
                          <a:pt x="122" y="8"/>
                        </a:lnTo>
                        <a:lnTo>
                          <a:pt x="96" y="34"/>
                        </a:lnTo>
                        <a:lnTo>
                          <a:pt x="79" y="34"/>
                        </a:lnTo>
                        <a:lnTo>
                          <a:pt x="18" y="61"/>
                        </a:lnTo>
                        <a:lnTo>
                          <a:pt x="0" y="104"/>
                        </a:lnTo>
                        <a:lnTo>
                          <a:pt x="0" y="122"/>
                        </a:lnTo>
                        <a:lnTo>
                          <a:pt x="35" y="139"/>
                        </a:lnTo>
                        <a:lnTo>
                          <a:pt x="70" y="130"/>
                        </a:lnTo>
                        <a:lnTo>
                          <a:pt x="96" y="104"/>
                        </a:lnTo>
                        <a:lnTo>
                          <a:pt x="122" y="122"/>
                        </a:lnTo>
                        <a:lnTo>
                          <a:pt x="209" y="104"/>
                        </a:lnTo>
                        <a:lnTo>
                          <a:pt x="218" y="9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7" name="Freeform 575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8" name="Freeform 576"/>
                  <p:cNvSpPr>
                    <a:spLocks/>
                  </p:cNvSpPr>
                  <p:nvPr/>
                </p:nvSpPr>
                <p:spPr bwMode="auto">
                  <a:xfrm>
                    <a:off x="4583114" y="3524250"/>
                    <a:ext cx="207963" cy="331788"/>
                  </a:xfrm>
                  <a:custGeom>
                    <a:avLst/>
                    <a:gdLst>
                      <a:gd name="T0" fmla="*/ 2147483647 w 131"/>
                      <a:gd name="T1" fmla="*/ 0 h 209"/>
                      <a:gd name="T2" fmla="*/ 2147483647 w 131"/>
                      <a:gd name="T3" fmla="*/ 2147483647 h 209"/>
                      <a:gd name="T4" fmla="*/ 2147483647 w 131"/>
                      <a:gd name="T5" fmla="*/ 2147483647 h 209"/>
                      <a:gd name="T6" fmla="*/ 2147483647 w 131"/>
                      <a:gd name="T7" fmla="*/ 2147483647 h 209"/>
                      <a:gd name="T8" fmla="*/ 2147483647 w 131"/>
                      <a:gd name="T9" fmla="*/ 2147483647 h 209"/>
                      <a:gd name="T10" fmla="*/ 2147483647 w 131"/>
                      <a:gd name="T11" fmla="*/ 2147483647 h 209"/>
                      <a:gd name="T12" fmla="*/ 2147483647 w 131"/>
                      <a:gd name="T13" fmla="*/ 2147483647 h 209"/>
                      <a:gd name="T14" fmla="*/ 0 w 131"/>
                      <a:gd name="T15" fmla="*/ 2147483647 h 209"/>
                      <a:gd name="T16" fmla="*/ 0 w 131"/>
                      <a:gd name="T17" fmla="*/ 2147483647 h 209"/>
                      <a:gd name="T18" fmla="*/ 2147483647 w 131"/>
                      <a:gd name="T19" fmla="*/ 2147483647 h 209"/>
                      <a:gd name="T20" fmla="*/ 2147483647 w 131"/>
                      <a:gd name="T21" fmla="*/ 2147483647 h 209"/>
                      <a:gd name="T22" fmla="*/ 2147483647 w 131"/>
                      <a:gd name="T23" fmla="*/ 2147483647 h 209"/>
                      <a:gd name="T24" fmla="*/ 2147483647 w 131"/>
                      <a:gd name="T25" fmla="*/ 2147483647 h 209"/>
                      <a:gd name="T26" fmla="*/ 2147483647 w 131"/>
                      <a:gd name="T27" fmla="*/ 2147483647 h 209"/>
                      <a:gd name="T28" fmla="*/ 2147483647 w 131"/>
                      <a:gd name="T29" fmla="*/ 2147483647 h 209"/>
                      <a:gd name="T30" fmla="*/ 2147483647 w 131"/>
                      <a:gd name="T31" fmla="*/ 2147483647 h 209"/>
                      <a:gd name="T32" fmla="*/ 2147483647 w 131"/>
                      <a:gd name="T33" fmla="*/ 2147483647 h 209"/>
                      <a:gd name="T34" fmla="*/ 2147483647 w 131"/>
                      <a:gd name="T35" fmla="*/ 2147483647 h 209"/>
                      <a:gd name="T36" fmla="*/ 2147483647 w 131"/>
                      <a:gd name="T37" fmla="*/ 2147483647 h 209"/>
                      <a:gd name="T38" fmla="*/ 2147483647 w 131"/>
                      <a:gd name="T39" fmla="*/ 0 h 209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131"/>
                      <a:gd name="T61" fmla="*/ 0 h 209"/>
                      <a:gd name="T62" fmla="*/ 131 w 131"/>
                      <a:gd name="T63" fmla="*/ 209 h 209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131" h="209">
                        <a:moveTo>
                          <a:pt x="105" y="0"/>
                        </a:moveTo>
                        <a:lnTo>
                          <a:pt x="88" y="17"/>
                        </a:lnTo>
                        <a:lnTo>
                          <a:pt x="88" y="26"/>
                        </a:lnTo>
                        <a:lnTo>
                          <a:pt x="79" y="52"/>
                        </a:lnTo>
                        <a:lnTo>
                          <a:pt x="53" y="122"/>
                        </a:lnTo>
                        <a:lnTo>
                          <a:pt x="26" y="113"/>
                        </a:lnTo>
                        <a:lnTo>
                          <a:pt x="9" y="122"/>
                        </a:lnTo>
                        <a:lnTo>
                          <a:pt x="0" y="157"/>
                        </a:lnTo>
                        <a:lnTo>
                          <a:pt x="0" y="166"/>
                        </a:lnTo>
                        <a:lnTo>
                          <a:pt x="18" y="166"/>
                        </a:lnTo>
                        <a:lnTo>
                          <a:pt x="18" y="200"/>
                        </a:lnTo>
                        <a:lnTo>
                          <a:pt x="79" y="200"/>
                        </a:lnTo>
                        <a:lnTo>
                          <a:pt x="122" y="209"/>
                        </a:lnTo>
                        <a:lnTo>
                          <a:pt x="131" y="183"/>
                        </a:lnTo>
                        <a:lnTo>
                          <a:pt x="96" y="166"/>
                        </a:lnTo>
                        <a:lnTo>
                          <a:pt x="96" y="148"/>
                        </a:lnTo>
                        <a:lnTo>
                          <a:pt x="114" y="105"/>
                        </a:lnTo>
                        <a:lnTo>
                          <a:pt x="96" y="61"/>
                        </a:lnTo>
                        <a:lnTo>
                          <a:pt x="122" y="52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09" name="Freeform 577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0" name="Freeform 578"/>
                  <p:cNvSpPr>
                    <a:spLocks/>
                  </p:cNvSpPr>
                  <p:nvPr/>
                </p:nvSpPr>
                <p:spPr bwMode="auto">
                  <a:xfrm>
                    <a:off x="4430714" y="3509963"/>
                    <a:ext cx="292100" cy="263525"/>
                  </a:xfrm>
                  <a:custGeom>
                    <a:avLst/>
                    <a:gdLst>
                      <a:gd name="T0" fmla="*/ 2147483647 w 184"/>
                      <a:gd name="T1" fmla="*/ 0 h 166"/>
                      <a:gd name="T2" fmla="*/ 2147483647 w 184"/>
                      <a:gd name="T3" fmla="*/ 2147483647 h 166"/>
                      <a:gd name="T4" fmla="*/ 2147483647 w 184"/>
                      <a:gd name="T5" fmla="*/ 2147483647 h 166"/>
                      <a:gd name="T6" fmla="*/ 2147483647 w 184"/>
                      <a:gd name="T7" fmla="*/ 2147483647 h 166"/>
                      <a:gd name="T8" fmla="*/ 2147483647 w 184"/>
                      <a:gd name="T9" fmla="*/ 2147483647 h 166"/>
                      <a:gd name="T10" fmla="*/ 2147483647 w 184"/>
                      <a:gd name="T11" fmla="*/ 0 h 166"/>
                      <a:gd name="T12" fmla="*/ 2147483647 w 184"/>
                      <a:gd name="T13" fmla="*/ 2147483647 h 166"/>
                      <a:gd name="T14" fmla="*/ 2147483647 w 184"/>
                      <a:gd name="T15" fmla="*/ 2147483647 h 166"/>
                      <a:gd name="T16" fmla="*/ 2147483647 w 184"/>
                      <a:gd name="T17" fmla="*/ 2147483647 h 166"/>
                      <a:gd name="T18" fmla="*/ 0 w 184"/>
                      <a:gd name="T19" fmla="*/ 2147483647 h 166"/>
                      <a:gd name="T20" fmla="*/ 0 w 184"/>
                      <a:gd name="T21" fmla="*/ 2147483647 h 166"/>
                      <a:gd name="T22" fmla="*/ 2147483647 w 184"/>
                      <a:gd name="T23" fmla="*/ 2147483647 h 166"/>
                      <a:gd name="T24" fmla="*/ 2147483647 w 184"/>
                      <a:gd name="T25" fmla="*/ 2147483647 h 166"/>
                      <a:gd name="T26" fmla="*/ 2147483647 w 184"/>
                      <a:gd name="T27" fmla="*/ 2147483647 h 166"/>
                      <a:gd name="T28" fmla="*/ 2147483647 w 184"/>
                      <a:gd name="T29" fmla="*/ 2147483647 h 166"/>
                      <a:gd name="T30" fmla="*/ 2147483647 w 184"/>
                      <a:gd name="T31" fmla="*/ 2147483647 h 166"/>
                      <a:gd name="T32" fmla="*/ 2147483647 w 184"/>
                      <a:gd name="T33" fmla="*/ 2147483647 h 166"/>
                      <a:gd name="T34" fmla="*/ 2147483647 w 184"/>
                      <a:gd name="T35" fmla="*/ 2147483647 h 166"/>
                      <a:gd name="T36" fmla="*/ 2147483647 w 184"/>
                      <a:gd name="T37" fmla="*/ 2147483647 h 166"/>
                      <a:gd name="T38" fmla="*/ 2147483647 w 184"/>
                      <a:gd name="T39" fmla="*/ 2147483647 h 166"/>
                      <a:gd name="T40" fmla="*/ 2147483647 w 184"/>
                      <a:gd name="T41" fmla="*/ 2147483647 h 166"/>
                      <a:gd name="T42" fmla="*/ 2147483647 w 184"/>
                      <a:gd name="T43" fmla="*/ 2147483647 h 166"/>
                      <a:gd name="T44" fmla="*/ 2147483647 w 184"/>
                      <a:gd name="T45" fmla="*/ 0 h 16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84"/>
                      <a:gd name="T70" fmla="*/ 0 h 166"/>
                      <a:gd name="T71" fmla="*/ 184 w 184"/>
                      <a:gd name="T72" fmla="*/ 166 h 166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84" h="166">
                        <a:moveTo>
                          <a:pt x="140" y="0"/>
                        </a:moveTo>
                        <a:lnTo>
                          <a:pt x="122" y="9"/>
                        </a:lnTo>
                        <a:lnTo>
                          <a:pt x="105" y="26"/>
                        </a:lnTo>
                        <a:lnTo>
                          <a:pt x="88" y="9"/>
                        </a:lnTo>
                        <a:lnTo>
                          <a:pt x="79" y="18"/>
                        </a:lnTo>
                        <a:lnTo>
                          <a:pt x="44" y="0"/>
                        </a:lnTo>
                        <a:lnTo>
                          <a:pt x="27" y="9"/>
                        </a:lnTo>
                        <a:lnTo>
                          <a:pt x="18" y="35"/>
                        </a:lnTo>
                        <a:lnTo>
                          <a:pt x="18" y="53"/>
                        </a:lnTo>
                        <a:lnTo>
                          <a:pt x="0" y="96"/>
                        </a:lnTo>
                        <a:lnTo>
                          <a:pt x="0" y="131"/>
                        </a:lnTo>
                        <a:lnTo>
                          <a:pt x="35" y="140"/>
                        </a:lnTo>
                        <a:lnTo>
                          <a:pt x="53" y="166"/>
                        </a:lnTo>
                        <a:lnTo>
                          <a:pt x="96" y="166"/>
                        </a:lnTo>
                        <a:lnTo>
                          <a:pt x="105" y="131"/>
                        </a:lnTo>
                        <a:lnTo>
                          <a:pt x="122" y="122"/>
                        </a:lnTo>
                        <a:lnTo>
                          <a:pt x="149" y="131"/>
                        </a:lnTo>
                        <a:lnTo>
                          <a:pt x="175" y="61"/>
                        </a:lnTo>
                        <a:lnTo>
                          <a:pt x="184" y="35"/>
                        </a:lnTo>
                        <a:lnTo>
                          <a:pt x="184" y="26"/>
                        </a:lnTo>
                        <a:lnTo>
                          <a:pt x="175" y="9"/>
                        </a:lnTo>
                        <a:lnTo>
                          <a:pt x="157" y="18"/>
                        </a:lnTo>
                        <a:lnTo>
                          <a:pt x="14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1" name="Freeform 579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2" name="Freeform 580"/>
                  <p:cNvSpPr>
                    <a:spLocks/>
                  </p:cNvSpPr>
                  <p:nvPr/>
                </p:nvSpPr>
                <p:spPr bwMode="auto">
                  <a:xfrm>
                    <a:off x="4389439" y="3551238"/>
                    <a:ext cx="69850" cy="166688"/>
                  </a:xfrm>
                  <a:custGeom>
                    <a:avLst/>
                    <a:gdLst>
                      <a:gd name="T0" fmla="*/ 2147483647 w 44"/>
                      <a:gd name="T1" fmla="*/ 2147483647 h 105"/>
                      <a:gd name="T2" fmla="*/ 0 w 44"/>
                      <a:gd name="T3" fmla="*/ 2147483647 h 105"/>
                      <a:gd name="T4" fmla="*/ 2147483647 w 44"/>
                      <a:gd name="T5" fmla="*/ 2147483647 h 105"/>
                      <a:gd name="T6" fmla="*/ 2147483647 w 44"/>
                      <a:gd name="T7" fmla="*/ 2147483647 h 105"/>
                      <a:gd name="T8" fmla="*/ 2147483647 w 44"/>
                      <a:gd name="T9" fmla="*/ 2147483647 h 105"/>
                      <a:gd name="T10" fmla="*/ 2147483647 w 44"/>
                      <a:gd name="T11" fmla="*/ 2147483647 h 105"/>
                      <a:gd name="T12" fmla="*/ 2147483647 w 44"/>
                      <a:gd name="T13" fmla="*/ 2147483647 h 105"/>
                      <a:gd name="T14" fmla="*/ 2147483647 w 44"/>
                      <a:gd name="T15" fmla="*/ 2147483647 h 105"/>
                      <a:gd name="T16" fmla="*/ 2147483647 w 44"/>
                      <a:gd name="T17" fmla="*/ 0 h 105"/>
                      <a:gd name="T18" fmla="*/ 2147483647 w 44"/>
                      <a:gd name="T19" fmla="*/ 2147483647 h 105"/>
                      <a:gd name="T20" fmla="*/ 2147483647 w 44"/>
                      <a:gd name="T21" fmla="*/ 2147483647 h 10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4"/>
                      <a:gd name="T34" fmla="*/ 0 h 105"/>
                      <a:gd name="T35" fmla="*/ 44 w 44"/>
                      <a:gd name="T36" fmla="*/ 105 h 10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4" h="105">
                        <a:moveTo>
                          <a:pt x="9" y="18"/>
                        </a:moveTo>
                        <a:lnTo>
                          <a:pt x="0" y="27"/>
                        </a:lnTo>
                        <a:lnTo>
                          <a:pt x="9" y="61"/>
                        </a:lnTo>
                        <a:lnTo>
                          <a:pt x="9" y="105"/>
                        </a:lnTo>
                        <a:lnTo>
                          <a:pt x="26" y="105"/>
                        </a:lnTo>
                        <a:lnTo>
                          <a:pt x="26" y="70"/>
                        </a:lnTo>
                        <a:lnTo>
                          <a:pt x="44" y="27"/>
                        </a:lnTo>
                        <a:lnTo>
                          <a:pt x="44" y="9"/>
                        </a:lnTo>
                        <a:lnTo>
                          <a:pt x="26" y="0"/>
                        </a:lnTo>
                        <a:lnTo>
                          <a:pt x="18" y="18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3" name="Freeform 581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4" name="Freeform 582"/>
                  <p:cNvSpPr>
                    <a:spLocks/>
                  </p:cNvSpPr>
                  <p:nvPr/>
                </p:nvSpPr>
                <p:spPr bwMode="auto">
                  <a:xfrm>
                    <a:off x="4348164" y="3594100"/>
                    <a:ext cx="55563" cy="138113"/>
                  </a:xfrm>
                  <a:custGeom>
                    <a:avLst/>
                    <a:gdLst>
                      <a:gd name="T0" fmla="*/ 2147483647 w 35"/>
                      <a:gd name="T1" fmla="*/ 2147483647 h 87"/>
                      <a:gd name="T2" fmla="*/ 2147483647 w 35"/>
                      <a:gd name="T3" fmla="*/ 0 h 87"/>
                      <a:gd name="T4" fmla="*/ 0 w 35"/>
                      <a:gd name="T5" fmla="*/ 0 h 87"/>
                      <a:gd name="T6" fmla="*/ 2147483647 w 35"/>
                      <a:gd name="T7" fmla="*/ 2147483647 h 87"/>
                      <a:gd name="T8" fmla="*/ 2147483647 w 35"/>
                      <a:gd name="T9" fmla="*/ 2147483647 h 87"/>
                      <a:gd name="T10" fmla="*/ 2147483647 w 35"/>
                      <a:gd name="T11" fmla="*/ 2147483647 h 87"/>
                      <a:gd name="T12" fmla="*/ 2147483647 w 35"/>
                      <a:gd name="T13" fmla="*/ 2147483647 h 87"/>
                      <a:gd name="T14" fmla="*/ 2147483647 w 35"/>
                      <a:gd name="T15" fmla="*/ 2147483647 h 87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35"/>
                      <a:gd name="T25" fmla="*/ 0 h 87"/>
                      <a:gd name="T26" fmla="*/ 35 w 35"/>
                      <a:gd name="T27" fmla="*/ 87 h 87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35" h="87">
                        <a:moveTo>
                          <a:pt x="35" y="34"/>
                        </a:move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18" y="34"/>
                        </a:lnTo>
                        <a:lnTo>
                          <a:pt x="18" y="61"/>
                        </a:lnTo>
                        <a:lnTo>
                          <a:pt x="26" y="87"/>
                        </a:lnTo>
                        <a:lnTo>
                          <a:pt x="35" y="78"/>
                        </a:lnTo>
                        <a:lnTo>
                          <a:pt x="35" y="3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5" name="Freeform 583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6" name="Freeform 584"/>
                  <p:cNvSpPr>
                    <a:spLocks/>
                  </p:cNvSpPr>
                  <p:nvPr/>
                </p:nvSpPr>
                <p:spPr bwMode="auto">
                  <a:xfrm>
                    <a:off x="4265614" y="3594100"/>
                    <a:ext cx="123825" cy="179388"/>
                  </a:xfrm>
                  <a:custGeom>
                    <a:avLst/>
                    <a:gdLst>
                      <a:gd name="T0" fmla="*/ 2147483647 w 78"/>
                      <a:gd name="T1" fmla="*/ 0 h 113"/>
                      <a:gd name="T2" fmla="*/ 2147483647 w 78"/>
                      <a:gd name="T3" fmla="*/ 0 h 113"/>
                      <a:gd name="T4" fmla="*/ 2147483647 w 78"/>
                      <a:gd name="T5" fmla="*/ 2147483647 h 113"/>
                      <a:gd name="T6" fmla="*/ 2147483647 w 78"/>
                      <a:gd name="T7" fmla="*/ 2147483647 h 113"/>
                      <a:gd name="T8" fmla="*/ 0 w 78"/>
                      <a:gd name="T9" fmla="*/ 2147483647 h 113"/>
                      <a:gd name="T10" fmla="*/ 2147483647 w 78"/>
                      <a:gd name="T11" fmla="*/ 2147483647 h 113"/>
                      <a:gd name="T12" fmla="*/ 2147483647 w 78"/>
                      <a:gd name="T13" fmla="*/ 2147483647 h 113"/>
                      <a:gd name="T14" fmla="*/ 2147483647 w 78"/>
                      <a:gd name="T15" fmla="*/ 2147483647 h 113"/>
                      <a:gd name="T16" fmla="*/ 2147483647 w 78"/>
                      <a:gd name="T17" fmla="*/ 2147483647 h 113"/>
                      <a:gd name="T18" fmla="*/ 2147483647 w 78"/>
                      <a:gd name="T19" fmla="*/ 2147483647 h 113"/>
                      <a:gd name="T20" fmla="*/ 2147483647 w 78"/>
                      <a:gd name="T21" fmla="*/ 0 h 1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78"/>
                      <a:gd name="T34" fmla="*/ 0 h 113"/>
                      <a:gd name="T35" fmla="*/ 78 w 78"/>
                      <a:gd name="T36" fmla="*/ 113 h 1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78" h="113">
                        <a:moveTo>
                          <a:pt x="52" y="0"/>
                        </a:moveTo>
                        <a:lnTo>
                          <a:pt x="9" y="0"/>
                        </a:lnTo>
                        <a:lnTo>
                          <a:pt x="9" y="17"/>
                        </a:lnTo>
                        <a:lnTo>
                          <a:pt x="17" y="43"/>
                        </a:lnTo>
                        <a:lnTo>
                          <a:pt x="0" y="78"/>
                        </a:lnTo>
                        <a:lnTo>
                          <a:pt x="9" y="95"/>
                        </a:lnTo>
                        <a:lnTo>
                          <a:pt x="9" y="113"/>
                        </a:lnTo>
                        <a:lnTo>
                          <a:pt x="78" y="87"/>
                        </a:lnTo>
                        <a:lnTo>
                          <a:pt x="70" y="61"/>
                        </a:lnTo>
                        <a:lnTo>
                          <a:pt x="70" y="34"/>
                        </a:lnTo>
                        <a:lnTo>
                          <a:pt x="52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7" name="Freeform 585"/>
                  <p:cNvSpPr>
                    <a:spLocks/>
                  </p:cNvSpPr>
                  <p:nvPr/>
                </p:nvSpPr>
                <p:spPr bwMode="auto">
                  <a:xfrm>
                    <a:off x="4002089" y="2873375"/>
                    <a:ext cx="331788" cy="236538"/>
                  </a:xfrm>
                  <a:custGeom>
                    <a:avLst/>
                    <a:gdLst>
                      <a:gd name="T0" fmla="*/ 2147483647 w 209"/>
                      <a:gd name="T1" fmla="*/ 2147483647 h 149"/>
                      <a:gd name="T2" fmla="*/ 2147483647 w 209"/>
                      <a:gd name="T3" fmla="*/ 0 h 149"/>
                      <a:gd name="T4" fmla="*/ 2147483647 w 209"/>
                      <a:gd name="T5" fmla="*/ 0 h 149"/>
                      <a:gd name="T6" fmla="*/ 2147483647 w 209"/>
                      <a:gd name="T7" fmla="*/ 0 h 149"/>
                      <a:gd name="T8" fmla="*/ 2147483647 w 209"/>
                      <a:gd name="T9" fmla="*/ 2147483647 h 149"/>
                      <a:gd name="T10" fmla="*/ 2147483647 w 209"/>
                      <a:gd name="T11" fmla="*/ 2147483647 h 149"/>
                      <a:gd name="T12" fmla="*/ 2147483647 w 209"/>
                      <a:gd name="T13" fmla="*/ 2147483647 h 149"/>
                      <a:gd name="T14" fmla="*/ 2147483647 w 209"/>
                      <a:gd name="T15" fmla="*/ 2147483647 h 149"/>
                      <a:gd name="T16" fmla="*/ 2147483647 w 209"/>
                      <a:gd name="T17" fmla="*/ 2147483647 h 149"/>
                      <a:gd name="T18" fmla="*/ 2147483647 w 209"/>
                      <a:gd name="T19" fmla="*/ 2147483647 h 149"/>
                      <a:gd name="T20" fmla="*/ 2147483647 w 209"/>
                      <a:gd name="T21" fmla="*/ 2147483647 h 149"/>
                      <a:gd name="T22" fmla="*/ 0 w 209"/>
                      <a:gd name="T23" fmla="*/ 2147483647 h 149"/>
                      <a:gd name="T24" fmla="*/ 2147483647 w 209"/>
                      <a:gd name="T25" fmla="*/ 2147483647 h 149"/>
                      <a:gd name="T26" fmla="*/ 2147483647 w 209"/>
                      <a:gd name="T27" fmla="*/ 2147483647 h 149"/>
                      <a:gd name="T28" fmla="*/ 2147483647 w 209"/>
                      <a:gd name="T29" fmla="*/ 2147483647 h 149"/>
                      <a:gd name="T30" fmla="*/ 2147483647 w 209"/>
                      <a:gd name="T31" fmla="*/ 2147483647 h 149"/>
                      <a:gd name="T32" fmla="*/ 2147483647 w 209"/>
                      <a:gd name="T33" fmla="*/ 2147483647 h 149"/>
                      <a:gd name="T34" fmla="*/ 2147483647 w 209"/>
                      <a:gd name="T35" fmla="*/ 2147483647 h 149"/>
                      <a:gd name="T36" fmla="*/ 2147483647 w 209"/>
                      <a:gd name="T37" fmla="*/ 2147483647 h 149"/>
                      <a:gd name="T38" fmla="*/ 2147483647 w 209"/>
                      <a:gd name="T39" fmla="*/ 2147483647 h 149"/>
                      <a:gd name="T40" fmla="*/ 2147483647 w 209"/>
                      <a:gd name="T41" fmla="*/ 2147483647 h 149"/>
                      <a:gd name="T42" fmla="*/ 2147483647 w 209"/>
                      <a:gd name="T43" fmla="*/ 2147483647 h 149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209"/>
                      <a:gd name="T67" fmla="*/ 0 h 149"/>
                      <a:gd name="T68" fmla="*/ 209 w 209"/>
                      <a:gd name="T69" fmla="*/ 149 h 149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209" h="149">
                        <a:moveTo>
                          <a:pt x="183" y="18"/>
                        </a:moveTo>
                        <a:lnTo>
                          <a:pt x="183" y="0"/>
                        </a:lnTo>
                        <a:lnTo>
                          <a:pt x="131" y="0"/>
                        </a:lnTo>
                        <a:lnTo>
                          <a:pt x="105" y="44"/>
                        </a:lnTo>
                        <a:lnTo>
                          <a:pt x="79" y="44"/>
                        </a:lnTo>
                        <a:lnTo>
                          <a:pt x="61" y="53"/>
                        </a:lnTo>
                        <a:lnTo>
                          <a:pt x="61" y="114"/>
                        </a:lnTo>
                        <a:lnTo>
                          <a:pt x="35" y="131"/>
                        </a:lnTo>
                        <a:lnTo>
                          <a:pt x="35" y="140"/>
                        </a:lnTo>
                        <a:lnTo>
                          <a:pt x="0" y="149"/>
                        </a:lnTo>
                        <a:lnTo>
                          <a:pt x="79" y="149"/>
                        </a:lnTo>
                        <a:lnTo>
                          <a:pt x="79" y="131"/>
                        </a:lnTo>
                        <a:lnTo>
                          <a:pt x="105" y="114"/>
                        </a:lnTo>
                        <a:lnTo>
                          <a:pt x="131" y="114"/>
                        </a:lnTo>
                        <a:lnTo>
                          <a:pt x="183" y="61"/>
                        </a:lnTo>
                        <a:lnTo>
                          <a:pt x="209" y="70"/>
                        </a:lnTo>
                        <a:lnTo>
                          <a:pt x="209" y="53"/>
                        </a:lnTo>
                        <a:lnTo>
                          <a:pt x="201" y="53"/>
                        </a:lnTo>
                        <a:lnTo>
                          <a:pt x="201" y="18"/>
                        </a:lnTo>
                        <a:lnTo>
                          <a:pt x="183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8" name="Freeform 587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19" name="Freeform 588"/>
                  <p:cNvSpPr>
                    <a:spLocks/>
                  </p:cNvSpPr>
                  <p:nvPr/>
                </p:nvSpPr>
                <p:spPr bwMode="auto">
                  <a:xfrm>
                    <a:off x="3890964" y="3109913"/>
                    <a:ext cx="236538" cy="193675"/>
                  </a:xfrm>
                  <a:custGeom>
                    <a:avLst/>
                    <a:gdLst>
                      <a:gd name="T0" fmla="*/ 2147483647 w 149"/>
                      <a:gd name="T1" fmla="*/ 2147483647 h 122"/>
                      <a:gd name="T2" fmla="*/ 2147483647 w 149"/>
                      <a:gd name="T3" fmla="*/ 2147483647 h 122"/>
                      <a:gd name="T4" fmla="*/ 2147483647 w 149"/>
                      <a:gd name="T5" fmla="*/ 2147483647 h 122"/>
                      <a:gd name="T6" fmla="*/ 2147483647 w 149"/>
                      <a:gd name="T7" fmla="*/ 2147483647 h 122"/>
                      <a:gd name="T8" fmla="*/ 2147483647 w 149"/>
                      <a:gd name="T9" fmla="*/ 0 h 122"/>
                      <a:gd name="T10" fmla="*/ 2147483647 w 149"/>
                      <a:gd name="T11" fmla="*/ 0 h 122"/>
                      <a:gd name="T12" fmla="*/ 2147483647 w 149"/>
                      <a:gd name="T13" fmla="*/ 2147483647 h 122"/>
                      <a:gd name="T14" fmla="*/ 2147483647 w 149"/>
                      <a:gd name="T15" fmla="*/ 2147483647 h 122"/>
                      <a:gd name="T16" fmla="*/ 2147483647 w 149"/>
                      <a:gd name="T17" fmla="*/ 2147483647 h 122"/>
                      <a:gd name="T18" fmla="*/ 2147483647 w 149"/>
                      <a:gd name="T19" fmla="*/ 2147483647 h 122"/>
                      <a:gd name="T20" fmla="*/ 2147483647 w 149"/>
                      <a:gd name="T21" fmla="*/ 2147483647 h 122"/>
                      <a:gd name="T22" fmla="*/ 0 w 149"/>
                      <a:gd name="T23" fmla="*/ 2147483647 h 122"/>
                      <a:gd name="T24" fmla="*/ 2147483647 w 149"/>
                      <a:gd name="T25" fmla="*/ 2147483647 h 122"/>
                      <a:gd name="T26" fmla="*/ 2147483647 w 149"/>
                      <a:gd name="T27" fmla="*/ 2147483647 h 122"/>
                      <a:gd name="T28" fmla="*/ 2147483647 w 149"/>
                      <a:gd name="T29" fmla="*/ 2147483647 h 122"/>
                      <a:gd name="T30" fmla="*/ 2147483647 w 149"/>
                      <a:gd name="T31" fmla="*/ 2147483647 h 122"/>
                      <a:gd name="T32" fmla="*/ 2147483647 w 149"/>
                      <a:gd name="T33" fmla="*/ 2147483647 h 122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49"/>
                      <a:gd name="T52" fmla="*/ 0 h 122"/>
                      <a:gd name="T53" fmla="*/ 149 w 149"/>
                      <a:gd name="T54" fmla="*/ 122 h 122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49" h="122">
                        <a:moveTo>
                          <a:pt x="79" y="87"/>
                        </a:moveTo>
                        <a:lnTo>
                          <a:pt x="96" y="87"/>
                        </a:lnTo>
                        <a:lnTo>
                          <a:pt x="96" y="34"/>
                        </a:lnTo>
                        <a:lnTo>
                          <a:pt x="149" y="34"/>
                        </a:lnTo>
                        <a:lnTo>
                          <a:pt x="149" y="0"/>
                        </a:lnTo>
                        <a:lnTo>
                          <a:pt x="70" y="0"/>
                        </a:lnTo>
                        <a:lnTo>
                          <a:pt x="70" y="17"/>
                        </a:lnTo>
                        <a:lnTo>
                          <a:pt x="53" y="26"/>
                        </a:lnTo>
                        <a:lnTo>
                          <a:pt x="35" y="69"/>
                        </a:lnTo>
                        <a:lnTo>
                          <a:pt x="18" y="78"/>
                        </a:lnTo>
                        <a:lnTo>
                          <a:pt x="9" y="95"/>
                        </a:lnTo>
                        <a:lnTo>
                          <a:pt x="0" y="104"/>
                        </a:lnTo>
                        <a:lnTo>
                          <a:pt x="9" y="122"/>
                        </a:lnTo>
                        <a:lnTo>
                          <a:pt x="27" y="113"/>
                        </a:lnTo>
                        <a:lnTo>
                          <a:pt x="79" y="113"/>
                        </a:lnTo>
                        <a:lnTo>
                          <a:pt x="79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0" name="Freeform 589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1" name="Freeform 590"/>
                  <p:cNvSpPr>
                    <a:spLocks/>
                  </p:cNvSpPr>
                  <p:nvPr/>
                </p:nvSpPr>
                <p:spPr bwMode="auto">
                  <a:xfrm>
                    <a:off x="3905251" y="3109913"/>
                    <a:ext cx="331788" cy="373063"/>
                  </a:xfrm>
                  <a:custGeom>
                    <a:avLst/>
                    <a:gdLst>
                      <a:gd name="T0" fmla="*/ 2147483647 w 209"/>
                      <a:gd name="T1" fmla="*/ 2147483647 h 235"/>
                      <a:gd name="T2" fmla="*/ 2147483647 w 209"/>
                      <a:gd name="T3" fmla="*/ 2147483647 h 235"/>
                      <a:gd name="T4" fmla="*/ 2147483647 w 209"/>
                      <a:gd name="T5" fmla="*/ 2147483647 h 235"/>
                      <a:gd name="T6" fmla="*/ 2147483647 w 209"/>
                      <a:gd name="T7" fmla="*/ 2147483647 h 235"/>
                      <a:gd name="T8" fmla="*/ 0 w 209"/>
                      <a:gd name="T9" fmla="*/ 2147483647 h 235"/>
                      <a:gd name="T10" fmla="*/ 0 w 209"/>
                      <a:gd name="T11" fmla="*/ 2147483647 h 235"/>
                      <a:gd name="T12" fmla="*/ 2147483647 w 209"/>
                      <a:gd name="T13" fmla="*/ 2147483647 h 235"/>
                      <a:gd name="T14" fmla="*/ 2147483647 w 209"/>
                      <a:gd name="T15" fmla="*/ 2147483647 h 235"/>
                      <a:gd name="T16" fmla="*/ 2147483647 w 209"/>
                      <a:gd name="T17" fmla="*/ 2147483647 h 235"/>
                      <a:gd name="T18" fmla="*/ 2147483647 w 209"/>
                      <a:gd name="T19" fmla="*/ 2147483647 h 235"/>
                      <a:gd name="T20" fmla="*/ 2147483647 w 209"/>
                      <a:gd name="T21" fmla="*/ 2147483647 h 235"/>
                      <a:gd name="T22" fmla="*/ 2147483647 w 209"/>
                      <a:gd name="T23" fmla="*/ 2147483647 h 235"/>
                      <a:gd name="T24" fmla="*/ 2147483647 w 209"/>
                      <a:gd name="T25" fmla="*/ 2147483647 h 235"/>
                      <a:gd name="T26" fmla="*/ 2147483647 w 209"/>
                      <a:gd name="T27" fmla="*/ 2147483647 h 235"/>
                      <a:gd name="T28" fmla="*/ 2147483647 w 209"/>
                      <a:gd name="T29" fmla="*/ 2147483647 h 235"/>
                      <a:gd name="T30" fmla="*/ 2147483647 w 209"/>
                      <a:gd name="T31" fmla="*/ 2147483647 h 235"/>
                      <a:gd name="T32" fmla="*/ 2147483647 w 209"/>
                      <a:gd name="T33" fmla="*/ 0 h 235"/>
                      <a:gd name="T34" fmla="*/ 2147483647 w 209"/>
                      <a:gd name="T35" fmla="*/ 2147483647 h 235"/>
                      <a:gd name="T36" fmla="*/ 2147483647 w 209"/>
                      <a:gd name="T37" fmla="*/ 2147483647 h 235"/>
                      <a:gd name="T38" fmla="*/ 2147483647 w 209"/>
                      <a:gd name="T39" fmla="*/ 2147483647 h 235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209"/>
                      <a:gd name="T61" fmla="*/ 0 h 235"/>
                      <a:gd name="T62" fmla="*/ 209 w 209"/>
                      <a:gd name="T63" fmla="*/ 235 h 235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209" h="235">
                        <a:moveTo>
                          <a:pt x="87" y="87"/>
                        </a:moveTo>
                        <a:lnTo>
                          <a:pt x="70" y="87"/>
                        </a:lnTo>
                        <a:lnTo>
                          <a:pt x="70" y="113"/>
                        </a:lnTo>
                        <a:lnTo>
                          <a:pt x="18" y="113"/>
                        </a:lnTo>
                        <a:lnTo>
                          <a:pt x="0" y="122"/>
                        </a:lnTo>
                        <a:lnTo>
                          <a:pt x="0" y="209"/>
                        </a:lnTo>
                        <a:lnTo>
                          <a:pt x="35" y="200"/>
                        </a:lnTo>
                        <a:lnTo>
                          <a:pt x="61" y="209"/>
                        </a:lnTo>
                        <a:lnTo>
                          <a:pt x="61" y="226"/>
                        </a:lnTo>
                        <a:lnTo>
                          <a:pt x="79" y="235"/>
                        </a:lnTo>
                        <a:lnTo>
                          <a:pt x="96" y="217"/>
                        </a:lnTo>
                        <a:lnTo>
                          <a:pt x="96" y="226"/>
                        </a:lnTo>
                        <a:lnTo>
                          <a:pt x="105" y="226"/>
                        </a:lnTo>
                        <a:lnTo>
                          <a:pt x="192" y="226"/>
                        </a:lnTo>
                        <a:lnTo>
                          <a:pt x="174" y="52"/>
                        </a:lnTo>
                        <a:lnTo>
                          <a:pt x="209" y="52"/>
                        </a:lnTo>
                        <a:lnTo>
                          <a:pt x="140" y="0"/>
                        </a:lnTo>
                        <a:lnTo>
                          <a:pt x="140" y="34"/>
                        </a:lnTo>
                        <a:lnTo>
                          <a:pt x="87" y="34"/>
                        </a:lnTo>
                        <a:lnTo>
                          <a:pt x="87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2" name="Freeform 591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3" name="Freeform 592"/>
                  <p:cNvSpPr>
                    <a:spLocks/>
                  </p:cNvSpPr>
                  <p:nvPr/>
                </p:nvSpPr>
                <p:spPr bwMode="auto">
                  <a:xfrm>
                    <a:off x="4030664" y="3192463"/>
                    <a:ext cx="442913" cy="414338"/>
                  </a:xfrm>
                  <a:custGeom>
                    <a:avLst/>
                    <a:gdLst>
                      <a:gd name="T0" fmla="*/ 2147483647 w 279"/>
                      <a:gd name="T1" fmla="*/ 2147483647 h 261"/>
                      <a:gd name="T2" fmla="*/ 2147483647 w 279"/>
                      <a:gd name="T3" fmla="*/ 2147483647 h 261"/>
                      <a:gd name="T4" fmla="*/ 2147483647 w 279"/>
                      <a:gd name="T5" fmla="*/ 2147483647 h 261"/>
                      <a:gd name="T6" fmla="*/ 0 w 279"/>
                      <a:gd name="T7" fmla="*/ 2147483647 h 261"/>
                      <a:gd name="T8" fmla="*/ 0 w 279"/>
                      <a:gd name="T9" fmla="*/ 2147483647 h 261"/>
                      <a:gd name="T10" fmla="*/ 2147483647 w 279"/>
                      <a:gd name="T11" fmla="*/ 2147483647 h 261"/>
                      <a:gd name="T12" fmla="*/ 2147483647 w 279"/>
                      <a:gd name="T13" fmla="*/ 2147483647 h 261"/>
                      <a:gd name="T14" fmla="*/ 2147483647 w 279"/>
                      <a:gd name="T15" fmla="*/ 2147483647 h 261"/>
                      <a:gd name="T16" fmla="*/ 2147483647 w 279"/>
                      <a:gd name="T17" fmla="*/ 2147483647 h 261"/>
                      <a:gd name="T18" fmla="*/ 2147483647 w 279"/>
                      <a:gd name="T19" fmla="*/ 2147483647 h 261"/>
                      <a:gd name="T20" fmla="*/ 2147483647 w 279"/>
                      <a:gd name="T21" fmla="*/ 2147483647 h 261"/>
                      <a:gd name="T22" fmla="*/ 2147483647 w 279"/>
                      <a:gd name="T23" fmla="*/ 2147483647 h 261"/>
                      <a:gd name="T24" fmla="*/ 2147483647 w 279"/>
                      <a:gd name="T25" fmla="*/ 2147483647 h 261"/>
                      <a:gd name="T26" fmla="*/ 2147483647 w 279"/>
                      <a:gd name="T27" fmla="*/ 2147483647 h 261"/>
                      <a:gd name="T28" fmla="*/ 2147483647 w 279"/>
                      <a:gd name="T29" fmla="*/ 2147483647 h 261"/>
                      <a:gd name="T30" fmla="*/ 2147483647 w 279"/>
                      <a:gd name="T31" fmla="*/ 2147483647 h 261"/>
                      <a:gd name="T32" fmla="*/ 2147483647 w 279"/>
                      <a:gd name="T33" fmla="*/ 2147483647 h 261"/>
                      <a:gd name="T34" fmla="*/ 2147483647 w 279"/>
                      <a:gd name="T35" fmla="*/ 2147483647 h 261"/>
                      <a:gd name="T36" fmla="*/ 2147483647 w 279"/>
                      <a:gd name="T37" fmla="*/ 2147483647 h 261"/>
                      <a:gd name="T38" fmla="*/ 2147483647 w 279"/>
                      <a:gd name="T39" fmla="*/ 0 h 261"/>
                      <a:gd name="T40" fmla="*/ 2147483647 w 279"/>
                      <a:gd name="T41" fmla="*/ 0 h 261"/>
                      <a:gd name="T42" fmla="*/ 2147483647 w 279"/>
                      <a:gd name="T43" fmla="*/ 2147483647 h 261"/>
                      <a:gd name="T44" fmla="*/ 2147483647 w 279"/>
                      <a:gd name="T45" fmla="*/ 2147483647 h 261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79"/>
                      <a:gd name="T70" fmla="*/ 0 h 261"/>
                      <a:gd name="T71" fmla="*/ 279 w 279"/>
                      <a:gd name="T72" fmla="*/ 261 h 261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79" h="261">
                        <a:moveTo>
                          <a:pt x="26" y="174"/>
                        </a:moveTo>
                        <a:lnTo>
                          <a:pt x="17" y="174"/>
                        </a:lnTo>
                        <a:lnTo>
                          <a:pt x="17" y="165"/>
                        </a:lnTo>
                        <a:lnTo>
                          <a:pt x="0" y="183"/>
                        </a:lnTo>
                        <a:lnTo>
                          <a:pt x="0" y="209"/>
                        </a:lnTo>
                        <a:lnTo>
                          <a:pt x="17" y="218"/>
                        </a:lnTo>
                        <a:lnTo>
                          <a:pt x="17" y="235"/>
                        </a:lnTo>
                        <a:lnTo>
                          <a:pt x="43" y="226"/>
                        </a:lnTo>
                        <a:lnTo>
                          <a:pt x="69" y="261"/>
                        </a:lnTo>
                        <a:lnTo>
                          <a:pt x="113" y="261"/>
                        </a:lnTo>
                        <a:lnTo>
                          <a:pt x="122" y="235"/>
                        </a:lnTo>
                        <a:lnTo>
                          <a:pt x="139" y="218"/>
                        </a:lnTo>
                        <a:lnTo>
                          <a:pt x="165" y="192"/>
                        </a:lnTo>
                        <a:lnTo>
                          <a:pt x="209" y="174"/>
                        </a:lnTo>
                        <a:lnTo>
                          <a:pt x="261" y="174"/>
                        </a:lnTo>
                        <a:lnTo>
                          <a:pt x="279" y="139"/>
                        </a:lnTo>
                        <a:lnTo>
                          <a:pt x="279" y="104"/>
                        </a:lnTo>
                        <a:lnTo>
                          <a:pt x="226" y="78"/>
                        </a:lnTo>
                        <a:lnTo>
                          <a:pt x="226" y="61"/>
                        </a:lnTo>
                        <a:lnTo>
                          <a:pt x="130" y="0"/>
                        </a:lnTo>
                        <a:lnTo>
                          <a:pt x="95" y="0"/>
                        </a:lnTo>
                        <a:lnTo>
                          <a:pt x="113" y="174"/>
                        </a:lnTo>
                        <a:lnTo>
                          <a:pt x="26" y="174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4" name="Freeform 593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5" name="Freeform 594"/>
                  <p:cNvSpPr>
                    <a:spLocks/>
                  </p:cNvSpPr>
                  <p:nvPr/>
                </p:nvSpPr>
                <p:spPr bwMode="auto">
                  <a:xfrm>
                    <a:off x="4362451" y="3219450"/>
                    <a:ext cx="414338" cy="360363"/>
                  </a:xfrm>
                  <a:custGeom>
                    <a:avLst/>
                    <a:gdLst>
                      <a:gd name="T0" fmla="*/ 2147483647 w 261"/>
                      <a:gd name="T1" fmla="*/ 2147483647 h 227"/>
                      <a:gd name="T2" fmla="*/ 2147483647 w 261"/>
                      <a:gd name="T3" fmla="*/ 2147483647 h 227"/>
                      <a:gd name="T4" fmla="*/ 2147483647 w 261"/>
                      <a:gd name="T5" fmla="*/ 2147483647 h 227"/>
                      <a:gd name="T6" fmla="*/ 2147483647 w 261"/>
                      <a:gd name="T7" fmla="*/ 2147483647 h 227"/>
                      <a:gd name="T8" fmla="*/ 2147483647 w 261"/>
                      <a:gd name="T9" fmla="*/ 0 h 227"/>
                      <a:gd name="T10" fmla="*/ 2147483647 w 261"/>
                      <a:gd name="T11" fmla="*/ 0 h 227"/>
                      <a:gd name="T12" fmla="*/ 2147483647 w 261"/>
                      <a:gd name="T13" fmla="*/ 2147483647 h 227"/>
                      <a:gd name="T14" fmla="*/ 2147483647 w 261"/>
                      <a:gd name="T15" fmla="*/ 2147483647 h 227"/>
                      <a:gd name="T16" fmla="*/ 2147483647 w 261"/>
                      <a:gd name="T17" fmla="*/ 2147483647 h 227"/>
                      <a:gd name="T18" fmla="*/ 2147483647 w 261"/>
                      <a:gd name="T19" fmla="*/ 2147483647 h 227"/>
                      <a:gd name="T20" fmla="*/ 2147483647 w 261"/>
                      <a:gd name="T21" fmla="*/ 2147483647 h 227"/>
                      <a:gd name="T22" fmla="*/ 0 w 261"/>
                      <a:gd name="T23" fmla="*/ 2147483647 h 227"/>
                      <a:gd name="T24" fmla="*/ 2147483647 w 261"/>
                      <a:gd name="T25" fmla="*/ 2147483647 h 227"/>
                      <a:gd name="T26" fmla="*/ 2147483647 w 261"/>
                      <a:gd name="T27" fmla="*/ 2147483647 h 227"/>
                      <a:gd name="T28" fmla="*/ 2147483647 w 261"/>
                      <a:gd name="T29" fmla="*/ 2147483647 h 227"/>
                      <a:gd name="T30" fmla="*/ 2147483647 w 261"/>
                      <a:gd name="T31" fmla="*/ 2147483647 h 227"/>
                      <a:gd name="T32" fmla="*/ 2147483647 w 261"/>
                      <a:gd name="T33" fmla="*/ 2147483647 h 227"/>
                      <a:gd name="T34" fmla="*/ 2147483647 w 261"/>
                      <a:gd name="T35" fmla="*/ 2147483647 h 227"/>
                      <a:gd name="T36" fmla="*/ 2147483647 w 261"/>
                      <a:gd name="T37" fmla="*/ 2147483647 h 227"/>
                      <a:gd name="T38" fmla="*/ 2147483647 w 261"/>
                      <a:gd name="T39" fmla="*/ 2147483647 h 227"/>
                      <a:gd name="T40" fmla="*/ 2147483647 w 261"/>
                      <a:gd name="T41" fmla="*/ 2147483647 h 227"/>
                      <a:gd name="T42" fmla="*/ 2147483647 w 261"/>
                      <a:gd name="T43" fmla="*/ 2147483647 h 227"/>
                      <a:gd name="T44" fmla="*/ 2147483647 w 261"/>
                      <a:gd name="T45" fmla="*/ 2147483647 h 227"/>
                      <a:gd name="T46" fmla="*/ 2147483647 w 261"/>
                      <a:gd name="T47" fmla="*/ 2147483647 h 227"/>
                      <a:gd name="T48" fmla="*/ 2147483647 w 261"/>
                      <a:gd name="T49" fmla="*/ 2147483647 h 227"/>
                      <a:gd name="T50" fmla="*/ 2147483647 w 261"/>
                      <a:gd name="T51" fmla="*/ 2147483647 h 227"/>
                      <a:gd name="T52" fmla="*/ 2147483647 w 261"/>
                      <a:gd name="T53" fmla="*/ 2147483647 h 227"/>
                      <a:gd name="T54" fmla="*/ 2147483647 w 261"/>
                      <a:gd name="T55" fmla="*/ 2147483647 h 227"/>
                      <a:gd name="T56" fmla="*/ 2147483647 w 261"/>
                      <a:gd name="T57" fmla="*/ 2147483647 h 227"/>
                      <a:gd name="T58" fmla="*/ 2147483647 w 261"/>
                      <a:gd name="T59" fmla="*/ 2147483647 h 227"/>
                      <a:gd name="T60" fmla="*/ 2147483647 w 261"/>
                      <a:gd name="T61" fmla="*/ 2147483647 h 227"/>
                      <a:gd name="T62" fmla="*/ 2147483647 w 261"/>
                      <a:gd name="T63" fmla="*/ 2147483647 h 227"/>
                      <a:gd name="T64" fmla="*/ 2147483647 w 261"/>
                      <a:gd name="T65" fmla="*/ 2147483647 h 227"/>
                      <a:gd name="T66" fmla="*/ 2147483647 w 261"/>
                      <a:gd name="T67" fmla="*/ 2147483647 h 227"/>
                      <a:gd name="T68" fmla="*/ 2147483647 w 261"/>
                      <a:gd name="T69" fmla="*/ 2147483647 h 227"/>
                      <a:gd name="T70" fmla="*/ 2147483647 w 261"/>
                      <a:gd name="T71" fmla="*/ 2147483647 h 227"/>
                      <a:gd name="T72" fmla="*/ 2147483647 w 261"/>
                      <a:gd name="T73" fmla="*/ 2147483647 h 227"/>
                      <a:gd name="T74" fmla="*/ 2147483647 w 261"/>
                      <a:gd name="T75" fmla="*/ 2147483647 h 227"/>
                      <a:gd name="T76" fmla="*/ 2147483647 w 261"/>
                      <a:gd name="T77" fmla="*/ 2147483647 h 227"/>
                      <a:gd name="T78" fmla="*/ 2147483647 w 261"/>
                      <a:gd name="T79" fmla="*/ 2147483647 h 227"/>
                      <a:gd name="T80" fmla="*/ 2147483647 w 261"/>
                      <a:gd name="T81" fmla="*/ 2147483647 h 227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261"/>
                      <a:gd name="T124" fmla="*/ 0 h 227"/>
                      <a:gd name="T125" fmla="*/ 261 w 261"/>
                      <a:gd name="T126" fmla="*/ 227 h 227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261" h="227">
                        <a:moveTo>
                          <a:pt x="244" y="35"/>
                        </a:moveTo>
                        <a:lnTo>
                          <a:pt x="244" y="18"/>
                        </a:lnTo>
                        <a:lnTo>
                          <a:pt x="235" y="18"/>
                        </a:lnTo>
                        <a:lnTo>
                          <a:pt x="218" y="9"/>
                        </a:lnTo>
                        <a:lnTo>
                          <a:pt x="200" y="0"/>
                        </a:lnTo>
                        <a:lnTo>
                          <a:pt x="192" y="0"/>
                        </a:lnTo>
                        <a:lnTo>
                          <a:pt x="87" y="87"/>
                        </a:lnTo>
                        <a:lnTo>
                          <a:pt x="78" y="79"/>
                        </a:lnTo>
                        <a:lnTo>
                          <a:pt x="70" y="87"/>
                        </a:lnTo>
                        <a:lnTo>
                          <a:pt x="70" y="122"/>
                        </a:lnTo>
                        <a:lnTo>
                          <a:pt x="52" y="157"/>
                        </a:lnTo>
                        <a:lnTo>
                          <a:pt x="0" y="157"/>
                        </a:lnTo>
                        <a:lnTo>
                          <a:pt x="9" y="175"/>
                        </a:lnTo>
                        <a:lnTo>
                          <a:pt x="17" y="192"/>
                        </a:lnTo>
                        <a:lnTo>
                          <a:pt x="26" y="227"/>
                        </a:lnTo>
                        <a:lnTo>
                          <a:pt x="35" y="227"/>
                        </a:lnTo>
                        <a:lnTo>
                          <a:pt x="43" y="209"/>
                        </a:lnTo>
                        <a:lnTo>
                          <a:pt x="61" y="218"/>
                        </a:lnTo>
                        <a:lnTo>
                          <a:pt x="70" y="192"/>
                        </a:lnTo>
                        <a:lnTo>
                          <a:pt x="87" y="183"/>
                        </a:lnTo>
                        <a:lnTo>
                          <a:pt x="122" y="201"/>
                        </a:lnTo>
                        <a:lnTo>
                          <a:pt x="131" y="192"/>
                        </a:lnTo>
                        <a:lnTo>
                          <a:pt x="148" y="209"/>
                        </a:lnTo>
                        <a:lnTo>
                          <a:pt x="165" y="192"/>
                        </a:lnTo>
                        <a:lnTo>
                          <a:pt x="183" y="183"/>
                        </a:lnTo>
                        <a:lnTo>
                          <a:pt x="200" y="201"/>
                        </a:lnTo>
                        <a:lnTo>
                          <a:pt x="218" y="192"/>
                        </a:lnTo>
                        <a:lnTo>
                          <a:pt x="209" y="183"/>
                        </a:lnTo>
                        <a:lnTo>
                          <a:pt x="227" y="183"/>
                        </a:lnTo>
                        <a:lnTo>
                          <a:pt x="235" y="148"/>
                        </a:lnTo>
                        <a:lnTo>
                          <a:pt x="253" y="122"/>
                        </a:lnTo>
                        <a:lnTo>
                          <a:pt x="253" y="114"/>
                        </a:lnTo>
                        <a:lnTo>
                          <a:pt x="253" y="105"/>
                        </a:lnTo>
                        <a:lnTo>
                          <a:pt x="253" y="96"/>
                        </a:lnTo>
                        <a:lnTo>
                          <a:pt x="253" y="87"/>
                        </a:lnTo>
                        <a:lnTo>
                          <a:pt x="253" y="79"/>
                        </a:lnTo>
                        <a:lnTo>
                          <a:pt x="261" y="70"/>
                        </a:lnTo>
                        <a:lnTo>
                          <a:pt x="244" y="35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6" name="Freeform 595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7" name="Freeform 596"/>
                  <p:cNvSpPr>
                    <a:spLocks/>
                  </p:cNvSpPr>
                  <p:nvPr/>
                </p:nvSpPr>
                <p:spPr bwMode="auto">
                  <a:xfrm>
                    <a:off x="4210051" y="3468688"/>
                    <a:ext cx="193675" cy="152400"/>
                  </a:xfrm>
                  <a:custGeom>
                    <a:avLst/>
                    <a:gdLst>
                      <a:gd name="T0" fmla="*/ 2147483647 w 122"/>
                      <a:gd name="T1" fmla="*/ 2147483647 h 96"/>
                      <a:gd name="T2" fmla="*/ 2147483647 w 122"/>
                      <a:gd name="T3" fmla="*/ 2147483647 h 96"/>
                      <a:gd name="T4" fmla="*/ 2147483647 w 122"/>
                      <a:gd name="T5" fmla="*/ 2147483647 h 96"/>
                      <a:gd name="T6" fmla="*/ 0 w 122"/>
                      <a:gd name="T7" fmla="*/ 2147483647 h 96"/>
                      <a:gd name="T8" fmla="*/ 2147483647 w 122"/>
                      <a:gd name="T9" fmla="*/ 2147483647 h 96"/>
                      <a:gd name="T10" fmla="*/ 2147483647 w 122"/>
                      <a:gd name="T11" fmla="*/ 2147483647 h 96"/>
                      <a:gd name="T12" fmla="*/ 2147483647 w 122"/>
                      <a:gd name="T13" fmla="*/ 2147483647 h 96"/>
                      <a:gd name="T14" fmla="*/ 2147483647 w 122"/>
                      <a:gd name="T15" fmla="*/ 2147483647 h 96"/>
                      <a:gd name="T16" fmla="*/ 2147483647 w 122"/>
                      <a:gd name="T17" fmla="*/ 2147483647 h 96"/>
                      <a:gd name="T18" fmla="*/ 2147483647 w 122"/>
                      <a:gd name="T19" fmla="*/ 2147483647 h 96"/>
                      <a:gd name="T20" fmla="*/ 2147483647 w 122"/>
                      <a:gd name="T21" fmla="*/ 0 h 96"/>
                      <a:gd name="T22" fmla="*/ 2147483647 w 122"/>
                      <a:gd name="T23" fmla="*/ 2147483647 h 9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2"/>
                      <a:gd name="T37" fmla="*/ 0 h 96"/>
                      <a:gd name="T38" fmla="*/ 122 w 122"/>
                      <a:gd name="T39" fmla="*/ 96 h 9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2" h="96">
                        <a:moveTo>
                          <a:pt x="52" y="18"/>
                        </a:moveTo>
                        <a:lnTo>
                          <a:pt x="26" y="44"/>
                        </a:lnTo>
                        <a:lnTo>
                          <a:pt x="9" y="61"/>
                        </a:lnTo>
                        <a:lnTo>
                          <a:pt x="0" y="87"/>
                        </a:lnTo>
                        <a:lnTo>
                          <a:pt x="44" y="96"/>
                        </a:lnTo>
                        <a:lnTo>
                          <a:pt x="44" y="79"/>
                        </a:lnTo>
                        <a:lnTo>
                          <a:pt x="113" y="79"/>
                        </a:lnTo>
                        <a:lnTo>
                          <a:pt x="122" y="70"/>
                        </a:lnTo>
                        <a:lnTo>
                          <a:pt x="113" y="35"/>
                        </a:lnTo>
                        <a:lnTo>
                          <a:pt x="105" y="18"/>
                        </a:lnTo>
                        <a:lnTo>
                          <a:pt x="96" y="0"/>
                        </a:lnTo>
                        <a:lnTo>
                          <a:pt x="52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8" name="Freeform 597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29" name="Freeform 598"/>
                  <p:cNvSpPr>
                    <a:spLocks/>
                  </p:cNvSpPr>
                  <p:nvPr/>
                </p:nvSpPr>
                <p:spPr bwMode="auto">
                  <a:xfrm>
                    <a:off x="3890964" y="3427413"/>
                    <a:ext cx="166688" cy="138113"/>
                  </a:xfrm>
                  <a:custGeom>
                    <a:avLst/>
                    <a:gdLst>
                      <a:gd name="T0" fmla="*/ 2147483647 w 105"/>
                      <a:gd name="T1" fmla="*/ 2147483647 h 87"/>
                      <a:gd name="T2" fmla="*/ 2147483647 w 105"/>
                      <a:gd name="T3" fmla="*/ 0 h 87"/>
                      <a:gd name="T4" fmla="*/ 2147483647 w 105"/>
                      <a:gd name="T5" fmla="*/ 2147483647 h 87"/>
                      <a:gd name="T6" fmla="*/ 0 w 105"/>
                      <a:gd name="T7" fmla="*/ 2147483647 h 87"/>
                      <a:gd name="T8" fmla="*/ 2147483647 w 105"/>
                      <a:gd name="T9" fmla="*/ 2147483647 h 87"/>
                      <a:gd name="T10" fmla="*/ 2147483647 w 105"/>
                      <a:gd name="T11" fmla="*/ 2147483647 h 87"/>
                      <a:gd name="T12" fmla="*/ 2147483647 w 105"/>
                      <a:gd name="T13" fmla="*/ 2147483647 h 87"/>
                      <a:gd name="T14" fmla="*/ 2147483647 w 105"/>
                      <a:gd name="T15" fmla="*/ 2147483647 h 87"/>
                      <a:gd name="T16" fmla="*/ 2147483647 w 105"/>
                      <a:gd name="T17" fmla="*/ 2147483647 h 87"/>
                      <a:gd name="T18" fmla="*/ 2147483647 w 105"/>
                      <a:gd name="T19" fmla="*/ 2147483647 h 87"/>
                      <a:gd name="T20" fmla="*/ 2147483647 w 105"/>
                      <a:gd name="T21" fmla="*/ 2147483647 h 87"/>
                      <a:gd name="T22" fmla="*/ 2147483647 w 105"/>
                      <a:gd name="T23" fmla="*/ 2147483647 h 87"/>
                      <a:gd name="T24" fmla="*/ 2147483647 w 105"/>
                      <a:gd name="T25" fmla="*/ 2147483647 h 87"/>
                      <a:gd name="T26" fmla="*/ 2147483647 w 105"/>
                      <a:gd name="T27" fmla="*/ 2147483647 h 87"/>
                      <a:gd name="T28" fmla="*/ 2147483647 w 105"/>
                      <a:gd name="T29" fmla="*/ 2147483647 h 87"/>
                      <a:gd name="T30" fmla="*/ 2147483647 w 105"/>
                      <a:gd name="T31" fmla="*/ 2147483647 h 8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105"/>
                      <a:gd name="T49" fmla="*/ 0 h 87"/>
                      <a:gd name="T50" fmla="*/ 105 w 105"/>
                      <a:gd name="T51" fmla="*/ 87 h 8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105" h="87">
                        <a:moveTo>
                          <a:pt x="70" y="9"/>
                        </a:moveTo>
                        <a:lnTo>
                          <a:pt x="44" y="0"/>
                        </a:lnTo>
                        <a:lnTo>
                          <a:pt x="9" y="9"/>
                        </a:lnTo>
                        <a:lnTo>
                          <a:pt x="0" y="35"/>
                        </a:lnTo>
                        <a:lnTo>
                          <a:pt x="9" y="52"/>
                        </a:lnTo>
                        <a:lnTo>
                          <a:pt x="53" y="44"/>
                        </a:lnTo>
                        <a:lnTo>
                          <a:pt x="61" y="61"/>
                        </a:lnTo>
                        <a:lnTo>
                          <a:pt x="9" y="61"/>
                        </a:lnTo>
                        <a:lnTo>
                          <a:pt x="9" y="78"/>
                        </a:lnTo>
                        <a:lnTo>
                          <a:pt x="61" y="78"/>
                        </a:lnTo>
                        <a:lnTo>
                          <a:pt x="105" y="87"/>
                        </a:lnTo>
                        <a:lnTo>
                          <a:pt x="105" y="70"/>
                        </a:lnTo>
                        <a:lnTo>
                          <a:pt x="88" y="61"/>
                        </a:lnTo>
                        <a:lnTo>
                          <a:pt x="88" y="35"/>
                        </a:lnTo>
                        <a:lnTo>
                          <a:pt x="70" y="26"/>
                        </a:lnTo>
                        <a:lnTo>
                          <a:pt x="70" y="9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0" name="Freeform 599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1" name="Freeform 600"/>
                  <p:cNvSpPr>
                    <a:spLocks/>
                  </p:cNvSpPr>
                  <p:nvPr/>
                </p:nvSpPr>
                <p:spPr bwMode="auto">
                  <a:xfrm>
                    <a:off x="3905251" y="3497263"/>
                    <a:ext cx="82550" cy="26988"/>
                  </a:xfrm>
                  <a:custGeom>
                    <a:avLst/>
                    <a:gdLst>
                      <a:gd name="T0" fmla="*/ 2147483647 w 52"/>
                      <a:gd name="T1" fmla="*/ 0 h 17"/>
                      <a:gd name="T2" fmla="*/ 0 w 52"/>
                      <a:gd name="T3" fmla="*/ 2147483647 h 17"/>
                      <a:gd name="T4" fmla="*/ 0 w 52"/>
                      <a:gd name="T5" fmla="*/ 2147483647 h 17"/>
                      <a:gd name="T6" fmla="*/ 2147483647 w 52"/>
                      <a:gd name="T7" fmla="*/ 2147483647 h 17"/>
                      <a:gd name="T8" fmla="*/ 2147483647 w 52"/>
                      <a:gd name="T9" fmla="*/ 0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"/>
                      <a:gd name="T16" fmla="*/ 0 h 17"/>
                      <a:gd name="T17" fmla="*/ 52 w 52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" h="17">
                        <a:moveTo>
                          <a:pt x="44" y="0"/>
                        </a:moveTo>
                        <a:lnTo>
                          <a:pt x="0" y="8"/>
                        </a:lnTo>
                        <a:lnTo>
                          <a:pt x="0" y="17"/>
                        </a:lnTo>
                        <a:lnTo>
                          <a:pt x="52" y="17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2" name="Freeform 601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3" name="Freeform 602"/>
                  <p:cNvSpPr>
                    <a:spLocks/>
                  </p:cNvSpPr>
                  <p:nvPr/>
                </p:nvSpPr>
                <p:spPr bwMode="auto">
                  <a:xfrm>
                    <a:off x="4043364" y="3662363"/>
                    <a:ext cx="111125" cy="125413"/>
                  </a:xfrm>
                  <a:custGeom>
                    <a:avLst/>
                    <a:gdLst>
                      <a:gd name="T0" fmla="*/ 2147483647 w 70"/>
                      <a:gd name="T1" fmla="*/ 0 h 79"/>
                      <a:gd name="T2" fmla="*/ 0 w 70"/>
                      <a:gd name="T3" fmla="*/ 2147483647 h 79"/>
                      <a:gd name="T4" fmla="*/ 2147483647 w 70"/>
                      <a:gd name="T5" fmla="*/ 2147483647 h 79"/>
                      <a:gd name="T6" fmla="*/ 2147483647 w 70"/>
                      <a:gd name="T7" fmla="*/ 2147483647 h 79"/>
                      <a:gd name="T8" fmla="*/ 2147483647 w 70"/>
                      <a:gd name="T9" fmla="*/ 2147483647 h 79"/>
                      <a:gd name="T10" fmla="*/ 2147483647 w 70"/>
                      <a:gd name="T11" fmla="*/ 0 h 79"/>
                      <a:gd name="T12" fmla="*/ 2147483647 w 70"/>
                      <a:gd name="T13" fmla="*/ 0 h 7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70"/>
                      <a:gd name="T22" fmla="*/ 0 h 79"/>
                      <a:gd name="T23" fmla="*/ 70 w 70"/>
                      <a:gd name="T24" fmla="*/ 79 h 7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70" h="79">
                        <a:moveTo>
                          <a:pt x="18" y="0"/>
                        </a:moveTo>
                        <a:lnTo>
                          <a:pt x="0" y="26"/>
                        </a:lnTo>
                        <a:lnTo>
                          <a:pt x="61" y="79"/>
                        </a:lnTo>
                        <a:lnTo>
                          <a:pt x="70" y="61"/>
                        </a:lnTo>
                        <a:lnTo>
                          <a:pt x="53" y="18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4" name="Freeform 603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5" name="Freeform 604"/>
                  <p:cNvSpPr>
                    <a:spLocks/>
                  </p:cNvSpPr>
                  <p:nvPr/>
                </p:nvSpPr>
                <p:spPr bwMode="auto">
                  <a:xfrm>
                    <a:off x="4002089" y="3621088"/>
                    <a:ext cx="69850" cy="82550"/>
                  </a:xfrm>
                  <a:custGeom>
                    <a:avLst/>
                    <a:gdLst>
                      <a:gd name="T0" fmla="*/ 0 w 44"/>
                      <a:gd name="T1" fmla="*/ 2147483647 h 52"/>
                      <a:gd name="T2" fmla="*/ 2147483647 w 44"/>
                      <a:gd name="T3" fmla="*/ 2147483647 h 52"/>
                      <a:gd name="T4" fmla="*/ 2147483647 w 44"/>
                      <a:gd name="T5" fmla="*/ 2147483647 h 52"/>
                      <a:gd name="T6" fmla="*/ 2147483647 w 44"/>
                      <a:gd name="T7" fmla="*/ 2147483647 h 52"/>
                      <a:gd name="T8" fmla="*/ 2147483647 w 44"/>
                      <a:gd name="T9" fmla="*/ 0 h 52"/>
                      <a:gd name="T10" fmla="*/ 2147483647 w 44"/>
                      <a:gd name="T11" fmla="*/ 0 h 52"/>
                      <a:gd name="T12" fmla="*/ 0 w 44"/>
                      <a:gd name="T13" fmla="*/ 2147483647 h 5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44"/>
                      <a:gd name="T22" fmla="*/ 0 h 52"/>
                      <a:gd name="T23" fmla="*/ 44 w 44"/>
                      <a:gd name="T24" fmla="*/ 52 h 5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44" h="52">
                        <a:moveTo>
                          <a:pt x="0" y="17"/>
                        </a:moveTo>
                        <a:lnTo>
                          <a:pt x="9" y="44"/>
                        </a:lnTo>
                        <a:lnTo>
                          <a:pt x="26" y="52"/>
                        </a:lnTo>
                        <a:lnTo>
                          <a:pt x="44" y="26"/>
                        </a:lnTo>
                        <a:lnTo>
                          <a:pt x="35" y="0"/>
                        </a:lnTo>
                        <a:lnTo>
                          <a:pt x="18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6" name="Freeform 605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7" name="Freeform 606"/>
                  <p:cNvSpPr>
                    <a:spLocks/>
                  </p:cNvSpPr>
                  <p:nvPr/>
                </p:nvSpPr>
                <p:spPr bwMode="auto">
                  <a:xfrm>
                    <a:off x="3946526" y="3551238"/>
                    <a:ext cx="193675" cy="139700"/>
                  </a:xfrm>
                  <a:custGeom>
                    <a:avLst/>
                    <a:gdLst>
                      <a:gd name="T0" fmla="*/ 2147483647 w 122"/>
                      <a:gd name="T1" fmla="*/ 0 h 88"/>
                      <a:gd name="T2" fmla="*/ 2147483647 w 122"/>
                      <a:gd name="T3" fmla="*/ 2147483647 h 88"/>
                      <a:gd name="T4" fmla="*/ 2147483647 w 122"/>
                      <a:gd name="T5" fmla="*/ 0 h 88"/>
                      <a:gd name="T6" fmla="*/ 2147483647 w 122"/>
                      <a:gd name="T7" fmla="*/ 2147483647 h 88"/>
                      <a:gd name="T8" fmla="*/ 0 w 122"/>
                      <a:gd name="T9" fmla="*/ 2147483647 h 88"/>
                      <a:gd name="T10" fmla="*/ 2147483647 w 122"/>
                      <a:gd name="T11" fmla="*/ 2147483647 h 88"/>
                      <a:gd name="T12" fmla="*/ 2147483647 w 122"/>
                      <a:gd name="T13" fmla="*/ 2147483647 h 88"/>
                      <a:gd name="T14" fmla="*/ 2147483647 w 122"/>
                      <a:gd name="T15" fmla="*/ 2147483647 h 88"/>
                      <a:gd name="T16" fmla="*/ 2147483647 w 122"/>
                      <a:gd name="T17" fmla="*/ 2147483647 h 88"/>
                      <a:gd name="T18" fmla="*/ 2147483647 w 122"/>
                      <a:gd name="T19" fmla="*/ 2147483647 h 88"/>
                      <a:gd name="T20" fmla="*/ 2147483647 w 122"/>
                      <a:gd name="T21" fmla="*/ 2147483647 h 88"/>
                      <a:gd name="T22" fmla="*/ 2147483647 w 122"/>
                      <a:gd name="T23" fmla="*/ 2147483647 h 88"/>
                      <a:gd name="T24" fmla="*/ 2147483647 w 122"/>
                      <a:gd name="T25" fmla="*/ 2147483647 h 88"/>
                      <a:gd name="T26" fmla="*/ 2147483647 w 122"/>
                      <a:gd name="T27" fmla="*/ 0 h 8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22"/>
                      <a:gd name="T43" fmla="*/ 0 h 88"/>
                      <a:gd name="T44" fmla="*/ 122 w 122"/>
                      <a:gd name="T45" fmla="*/ 88 h 8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22" h="88">
                        <a:moveTo>
                          <a:pt x="96" y="0"/>
                        </a:moveTo>
                        <a:lnTo>
                          <a:pt x="70" y="9"/>
                        </a:lnTo>
                        <a:lnTo>
                          <a:pt x="26" y="0"/>
                        </a:lnTo>
                        <a:lnTo>
                          <a:pt x="35" y="9"/>
                        </a:lnTo>
                        <a:lnTo>
                          <a:pt x="0" y="27"/>
                        </a:lnTo>
                        <a:lnTo>
                          <a:pt x="35" y="61"/>
                        </a:lnTo>
                        <a:lnTo>
                          <a:pt x="53" y="44"/>
                        </a:lnTo>
                        <a:lnTo>
                          <a:pt x="70" y="44"/>
                        </a:lnTo>
                        <a:lnTo>
                          <a:pt x="79" y="70"/>
                        </a:lnTo>
                        <a:lnTo>
                          <a:pt x="96" y="70"/>
                        </a:lnTo>
                        <a:lnTo>
                          <a:pt x="114" y="88"/>
                        </a:lnTo>
                        <a:lnTo>
                          <a:pt x="122" y="79"/>
                        </a:lnTo>
                        <a:lnTo>
                          <a:pt x="122" y="35"/>
                        </a:lnTo>
                        <a:lnTo>
                          <a:pt x="96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8" name="Freeform 607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39" name="Freeform 609"/>
                  <p:cNvSpPr>
                    <a:spLocks/>
                  </p:cNvSpPr>
                  <p:nvPr/>
                </p:nvSpPr>
                <p:spPr bwMode="auto">
                  <a:xfrm>
                    <a:off x="3905251" y="3551238"/>
                    <a:ext cx="96838" cy="42863"/>
                  </a:xfrm>
                  <a:custGeom>
                    <a:avLst/>
                    <a:gdLst>
                      <a:gd name="T0" fmla="*/ 0 w 61"/>
                      <a:gd name="T1" fmla="*/ 0 h 27"/>
                      <a:gd name="T2" fmla="*/ 2147483647 w 61"/>
                      <a:gd name="T3" fmla="*/ 2147483647 h 27"/>
                      <a:gd name="T4" fmla="*/ 2147483647 w 61"/>
                      <a:gd name="T5" fmla="*/ 2147483647 h 27"/>
                      <a:gd name="T6" fmla="*/ 2147483647 w 61"/>
                      <a:gd name="T7" fmla="*/ 2147483647 h 27"/>
                      <a:gd name="T8" fmla="*/ 2147483647 w 61"/>
                      <a:gd name="T9" fmla="*/ 0 h 27"/>
                      <a:gd name="T10" fmla="*/ 0 w 61"/>
                      <a:gd name="T11" fmla="*/ 0 h 2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1"/>
                      <a:gd name="T19" fmla="*/ 0 h 27"/>
                      <a:gd name="T20" fmla="*/ 61 w 61"/>
                      <a:gd name="T21" fmla="*/ 27 h 2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1" h="27">
                        <a:moveTo>
                          <a:pt x="0" y="0"/>
                        </a:moveTo>
                        <a:lnTo>
                          <a:pt x="18" y="9"/>
                        </a:lnTo>
                        <a:lnTo>
                          <a:pt x="26" y="27"/>
                        </a:lnTo>
                        <a:lnTo>
                          <a:pt x="61" y="9"/>
                        </a:lnTo>
                        <a:lnTo>
                          <a:pt x="5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0" name="Freeform 610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1" name="Freeform 611"/>
                  <p:cNvSpPr>
                    <a:spLocks/>
                  </p:cNvSpPr>
                  <p:nvPr/>
                </p:nvSpPr>
                <p:spPr bwMode="auto">
                  <a:xfrm>
                    <a:off x="4127501" y="3606800"/>
                    <a:ext cx="165100" cy="180975"/>
                  </a:xfrm>
                  <a:custGeom>
                    <a:avLst/>
                    <a:gdLst>
                      <a:gd name="T0" fmla="*/ 2147483647 w 104"/>
                      <a:gd name="T1" fmla="*/ 2147483647 h 114"/>
                      <a:gd name="T2" fmla="*/ 2147483647 w 104"/>
                      <a:gd name="T3" fmla="*/ 2147483647 h 114"/>
                      <a:gd name="T4" fmla="*/ 2147483647 w 104"/>
                      <a:gd name="T5" fmla="*/ 2147483647 h 114"/>
                      <a:gd name="T6" fmla="*/ 2147483647 w 104"/>
                      <a:gd name="T7" fmla="*/ 2147483647 h 114"/>
                      <a:gd name="T8" fmla="*/ 2147483647 w 104"/>
                      <a:gd name="T9" fmla="*/ 0 h 114"/>
                      <a:gd name="T10" fmla="*/ 2147483647 w 104"/>
                      <a:gd name="T11" fmla="*/ 0 h 114"/>
                      <a:gd name="T12" fmla="*/ 2147483647 w 104"/>
                      <a:gd name="T13" fmla="*/ 2147483647 h 114"/>
                      <a:gd name="T14" fmla="*/ 0 w 104"/>
                      <a:gd name="T15" fmla="*/ 2147483647 h 114"/>
                      <a:gd name="T16" fmla="*/ 2147483647 w 104"/>
                      <a:gd name="T17" fmla="*/ 2147483647 h 114"/>
                      <a:gd name="T18" fmla="*/ 2147483647 w 104"/>
                      <a:gd name="T19" fmla="*/ 2147483647 h 114"/>
                      <a:gd name="T20" fmla="*/ 2147483647 w 104"/>
                      <a:gd name="T21" fmla="*/ 2147483647 h 114"/>
                      <a:gd name="T22" fmla="*/ 2147483647 w 104"/>
                      <a:gd name="T23" fmla="*/ 2147483647 h 114"/>
                      <a:gd name="T24" fmla="*/ 2147483647 w 104"/>
                      <a:gd name="T25" fmla="*/ 2147483647 h 114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04"/>
                      <a:gd name="T40" fmla="*/ 0 h 114"/>
                      <a:gd name="T41" fmla="*/ 104 w 104"/>
                      <a:gd name="T42" fmla="*/ 114 h 114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04" h="114">
                        <a:moveTo>
                          <a:pt x="96" y="87"/>
                        </a:moveTo>
                        <a:lnTo>
                          <a:pt x="87" y="70"/>
                        </a:lnTo>
                        <a:lnTo>
                          <a:pt x="104" y="35"/>
                        </a:lnTo>
                        <a:lnTo>
                          <a:pt x="96" y="9"/>
                        </a:lnTo>
                        <a:lnTo>
                          <a:pt x="52" y="0"/>
                        </a:lnTo>
                        <a:lnTo>
                          <a:pt x="8" y="0"/>
                        </a:lnTo>
                        <a:lnTo>
                          <a:pt x="8" y="44"/>
                        </a:lnTo>
                        <a:lnTo>
                          <a:pt x="0" y="53"/>
                        </a:lnTo>
                        <a:lnTo>
                          <a:pt x="17" y="96"/>
                        </a:lnTo>
                        <a:lnTo>
                          <a:pt x="8" y="114"/>
                        </a:lnTo>
                        <a:lnTo>
                          <a:pt x="78" y="96"/>
                        </a:lnTo>
                        <a:lnTo>
                          <a:pt x="96" y="105"/>
                        </a:lnTo>
                        <a:lnTo>
                          <a:pt x="96" y="87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2" name="Freeform 612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3" name="Freeform 613"/>
                  <p:cNvSpPr>
                    <a:spLocks/>
                  </p:cNvSpPr>
                  <p:nvPr/>
                </p:nvSpPr>
                <p:spPr bwMode="auto">
                  <a:xfrm>
                    <a:off x="5026026" y="4354513"/>
                    <a:ext cx="207963" cy="193675"/>
                  </a:xfrm>
                  <a:custGeom>
                    <a:avLst/>
                    <a:gdLst>
                      <a:gd name="T0" fmla="*/ 2147483647 w 131"/>
                      <a:gd name="T1" fmla="*/ 2147483647 h 122"/>
                      <a:gd name="T2" fmla="*/ 2147483647 w 131"/>
                      <a:gd name="T3" fmla="*/ 2147483647 h 122"/>
                      <a:gd name="T4" fmla="*/ 2147483647 w 131"/>
                      <a:gd name="T5" fmla="*/ 2147483647 h 122"/>
                      <a:gd name="T6" fmla="*/ 2147483647 w 131"/>
                      <a:gd name="T7" fmla="*/ 2147483647 h 122"/>
                      <a:gd name="T8" fmla="*/ 2147483647 w 131"/>
                      <a:gd name="T9" fmla="*/ 2147483647 h 122"/>
                      <a:gd name="T10" fmla="*/ 2147483647 w 131"/>
                      <a:gd name="T11" fmla="*/ 2147483647 h 122"/>
                      <a:gd name="T12" fmla="*/ 2147483647 w 131"/>
                      <a:gd name="T13" fmla="*/ 2147483647 h 122"/>
                      <a:gd name="T14" fmla="*/ 2147483647 w 131"/>
                      <a:gd name="T15" fmla="*/ 2147483647 h 122"/>
                      <a:gd name="T16" fmla="*/ 2147483647 w 131"/>
                      <a:gd name="T17" fmla="*/ 2147483647 h 122"/>
                      <a:gd name="T18" fmla="*/ 2147483647 w 131"/>
                      <a:gd name="T19" fmla="*/ 0 h 122"/>
                      <a:gd name="T20" fmla="*/ 2147483647 w 131"/>
                      <a:gd name="T21" fmla="*/ 2147483647 h 122"/>
                      <a:gd name="T22" fmla="*/ 2147483647 w 131"/>
                      <a:gd name="T23" fmla="*/ 2147483647 h 122"/>
                      <a:gd name="T24" fmla="*/ 2147483647 w 131"/>
                      <a:gd name="T25" fmla="*/ 2147483647 h 122"/>
                      <a:gd name="T26" fmla="*/ 0 w 131"/>
                      <a:gd name="T27" fmla="*/ 2147483647 h 122"/>
                      <a:gd name="T28" fmla="*/ 2147483647 w 131"/>
                      <a:gd name="T29" fmla="*/ 2147483647 h 12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131"/>
                      <a:gd name="T46" fmla="*/ 0 h 122"/>
                      <a:gd name="T47" fmla="*/ 131 w 131"/>
                      <a:gd name="T48" fmla="*/ 122 h 12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131" h="122">
                        <a:moveTo>
                          <a:pt x="9" y="52"/>
                        </a:moveTo>
                        <a:lnTo>
                          <a:pt x="26" y="78"/>
                        </a:lnTo>
                        <a:lnTo>
                          <a:pt x="53" y="113"/>
                        </a:lnTo>
                        <a:lnTo>
                          <a:pt x="61" y="122"/>
                        </a:lnTo>
                        <a:lnTo>
                          <a:pt x="96" y="122"/>
                        </a:lnTo>
                        <a:lnTo>
                          <a:pt x="114" y="105"/>
                        </a:lnTo>
                        <a:lnTo>
                          <a:pt x="114" y="96"/>
                        </a:lnTo>
                        <a:lnTo>
                          <a:pt x="131" y="61"/>
                        </a:lnTo>
                        <a:lnTo>
                          <a:pt x="131" y="17"/>
                        </a:lnTo>
                        <a:lnTo>
                          <a:pt x="79" y="0"/>
                        </a:lnTo>
                        <a:lnTo>
                          <a:pt x="70" y="9"/>
                        </a:lnTo>
                        <a:lnTo>
                          <a:pt x="35" y="26"/>
                        </a:lnTo>
                        <a:lnTo>
                          <a:pt x="26" y="43"/>
                        </a:lnTo>
                        <a:lnTo>
                          <a:pt x="0" y="43"/>
                        </a:lnTo>
                        <a:lnTo>
                          <a:pt x="9" y="52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4" name="Freeform 614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5" name="Freeform 615"/>
                  <p:cNvSpPr>
                    <a:spLocks/>
                  </p:cNvSpPr>
                  <p:nvPr/>
                </p:nvSpPr>
                <p:spPr bwMode="auto">
                  <a:xfrm>
                    <a:off x="4597401" y="3841750"/>
                    <a:ext cx="69850" cy="28575"/>
                  </a:xfrm>
                  <a:custGeom>
                    <a:avLst/>
                    <a:gdLst>
                      <a:gd name="T0" fmla="*/ 2147483647 w 44"/>
                      <a:gd name="T1" fmla="*/ 2147483647 h 18"/>
                      <a:gd name="T2" fmla="*/ 2147483647 w 44"/>
                      <a:gd name="T3" fmla="*/ 2147483647 h 18"/>
                      <a:gd name="T4" fmla="*/ 2147483647 w 44"/>
                      <a:gd name="T5" fmla="*/ 0 h 18"/>
                      <a:gd name="T6" fmla="*/ 2147483647 w 44"/>
                      <a:gd name="T7" fmla="*/ 0 h 18"/>
                      <a:gd name="T8" fmla="*/ 0 w 44"/>
                      <a:gd name="T9" fmla="*/ 2147483647 h 18"/>
                      <a:gd name="T10" fmla="*/ 2147483647 w 44"/>
                      <a:gd name="T11" fmla="*/ 2147483647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4"/>
                      <a:gd name="T19" fmla="*/ 0 h 18"/>
                      <a:gd name="T20" fmla="*/ 44 w 44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4" h="18">
                        <a:moveTo>
                          <a:pt x="9" y="18"/>
                        </a:moveTo>
                        <a:lnTo>
                          <a:pt x="44" y="18"/>
                        </a:lnTo>
                        <a:lnTo>
                          <a:pt x="44" y="0"/>
                        </a:lnTo>
                        <a:lnTo>
                          <a:pt x="9" y="0"/>
                        </a:lnTo>
                        <a:lnTo>
                          <a:pt x="0" y="9"/>
                        </a:lnTo>
                        <a:lnTo>
                          <a:pt x="9" y="18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6" name="Freeform 616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  <p:sp>
                <p:nvSpPr>
                  <p:cNvPr id="147" name="Freeform 617"/>
                  <p:cNvSpPr>
                    <a:spLocks/>
                  </p:cNvSpPr>
                  <p:nvPr/>
                </p:nvSpPr>
                <p:spPr bwMode="auto">
                  <a:xfrm>
                    <a:off x="4570413" y="3800475"/>
                    <a:ext cx="12700" cy="14288"/>
                  </a:xfrm>
                  <a:custGeom>
                    <a:avLst/>
                    <a:gdLst>
                      <a:gd name="T0" fmla="*/ 2147483647 w 8"/>
                      <a:gd name="T1" fmla="*/ 0 h 9"/>
                      <a:gd name="T2" fmla="*/ 2147483647 w 8"/>
                      <a:gd name="T3" fmla="*/ 0 h 9"/>
                      <a:gd name="T4" fmla="*/ 0 w 8"/>
                      <a:gd name="T5" fmla="*/ 2147483647 h 9"/>
                      <a:gd name="T6" fmla="*/ 2147483647 w 8"/>
                      <a:gd name="T7" fmla="*/ 2147483647 h 9"/>
                      <a:gd name="T8" fmla="*/ 2147483647 w 8"/>
                      <a:gd name="T9" fmla="*/ 0 h 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"/>
                      <a:gd name="T16" fmla="*/ 0 h 9"/>
                      <a:gd name="T17" fmla="*/ 8 w 8"/>
                      <a:gd name="T18" fmla="*/ 9 h 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" h="9">
                        <a:moveTo>
                          <a:pt x="8" y="0"/>
                        </a:moveTo>
                        <a:lnTo>
                          <a:pt x="8" y="0"/>
                        </a:lnTo>
                        <a:lnTo>
                          <a:pt x="0" y="9"/>
                        </a:lnTo>
                        <a:lnTo>
                          <a:pt x="8" y="9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grpFill/>
                  <a:ln w="14288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>
                      <a:solidFill>
                        <a:srgbClr val="124191"/>
                      </a:solidFill>
                      <a:latin typeface="Nokia Pure Text Light"/>
                    </a:endParaRPr>
                  </a:p>
                </p:txBody>
              </p:sp>
            </p:grpSp>
          </p:grpSp>
        </p:grpSp>
        <p:sp>
          <p:nvSpPr>
            <p:cNvPr id="14" name="Ellipse 2"/>
            <p:cNvSpPr/>
            <p:nvPr userDrawn="1"/>
          </p:nvSpPr>
          <p:spPr>
            <a:xfrm>
              <a:off x="3745155" y="1316622"/>
              <a:ext cx="1006922" cy="2618209"/>
            </a:xfrm>
            <a:custGeom>
              <a:avLst/>
              <a:gdLst/>
              <a:ahLst/>
              <a:cxnLst/>
              <a:rect l="l" t="t" r="r" b="b"/>
              <a:pathLst>
                <a:path w="913344" h="2374886">
                  <a:moveTo>
                    <a:pt x="456672" y="0"/>
                  </a:moveTo>
                  <a:cubicBezTo>
                    <a:pt x="741172" y="313816"/>
                    <a:pt x="913344" y="730523"/>
                    <a:pt x="913344" y="1187443"/>
                  </a:cubicBezTo>
                  <a:cubicBezTo>
                    <a:pt x="913344" y="1644363"/>
                    <a:pt x="741172" y="2061070"/>
                    <a:pt x="456672" y="2374886"/>
                  </a:cubicBezTo>
                  <a:cubicBezTo>
                    <a:pt x="172173" y="2061070"/>
                    <a:pt x="0" y="1644363"/>
                    <a:pt x="0" y="1187443"/>
                  </a:cubicBezTo>
                  <a:cubicBezTo>
                    <a:pt x="0" y="730523"/>
                    <a:pt x="172173" y="313816"/>
                    <a:pt x="456672" y="0"/>
                  </a:cubicBezTo>
                  <a:close/>
                </a:path>
              </a:pathLst>
            </a:custGeom>
            <a:solidFill>
              <a:schemeClr val="tx1">
                <a:alpha val="43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315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77110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3955215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900000"/>
            <a:ext cx="8308800" cy="1980000"/>
          </a:xfrm>
        </p:spPr>
        <p:txBody>
          <a:bodyPr/>
          <a:lstStyle>
            <a:lvl1pPr marL="0" indent="0">
              <a:buNone/>
              <a:defRPr sz="660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eaLnBrk="1" hangingPunct="1"/>
            <a:r>
              <a:rPr lang="en-US" dirty="0">
                <a:ea typeface="ヒラギノ角ゴ Pro W3"/>
                <a:cs typeface="ヒラギノ角ゴ Pro W3"/>
              </a:rPr>
              <a:t>Main headline in</a:t>
            </a:r>
            <a:br>
              <a:rPr lang="en-US" dirty="0">
                <a:ea typeface="ヒラギノ角ゴ Pro W3"/>
                <a:cs typeface="ヒラギノ角ゴ Pro W3"/>
              </a:rPr>
            </a:br>
            <a:r>
              <a:rPr lang="en-US" dirty="0">
                <a:ea typeface="ヒラギノ角ゴ Pro W3"/>
                <a:cs typeface="ヒラギノ角ゴ Pro W3"/>
              </a:rPr>
              <a:t>lower case he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417600" y="3059999"/>
            <a:ext cx="8308800" cy="1576800"/>
          </a:xfrm>
        </p:spPr>
        <p:txBody>
          <a:bodyPr/>
          <a:lstStyle>
            <a:lvl1pPr marL="0" indent="0">
              <a:buNone/>
              <a:defRPr sz="1800"/>
            </a:lvl1pPr>
            <a:lvl2pPr marL="230400" indent="-228600">
              <a:buFont typeface="Arial" panose="020B0604020202020204" pitchFamily="34" charset="0"/>
              <a:buChar char="•"/>
              <a:defRPr sz="1800"/>
            </a:lvl2pPr>
          </a:lstStyle>
          <a:p>
            <a:pPr lvl="0"/>
            <a:r>
              <a:rPr lang="en-US" dirty="0"/>
              <a:t>Supporting headline in sentence case here </a:t>
            </a:r>
          </a:p>
          <a:p>
            <a:pPr lvl="1"/>
            <a:r>
              <a:rPr lang="en-US" dirty="0"/>
              <a:t>Author/Presenter</a:t>
            </a:r>
          </a:p>
          <a:p>
            <a:pPr lvl="1"/>
            <a:r>
              <a:rPr lang="en-US" dirty="0"/>
              <a:t>DD-MM-YYYY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00" y="280580"/>
            <a:ext cx="1080000" cy="175283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967608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599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811815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bg1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812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headline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782873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599" y="280799"/>
            <a:ext cx="8308800" cy="4359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239"/>
            <a:ext cx="690379" cy="112048"/>
          </a:xfrm>
          <a:prstGeom prst="rect">
            <a:avLst/>
          </a:prstGeom>
        </p:spPr>
      </p:pic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089625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0379" cy="112048"/>
          </a:xfrm>
          <a:prstGeom prst="rect">
            <a:avLst/>
          </a:prstGeom>
        </p:spPr>
      </p:pic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404847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012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6" name="TextBox 5"/>
          <p:cNvSpPr txBox="1"/>
          <p:nvPr userDrawn="1"/>
        </p:nvSpPr>
        <p:spPr bwMode="auto">
          <a:xfrm>
            <a:off x="417512" y="4651634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172970079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  <p:sp>
        <p:nvSpPr>
          <p:cNvPr id="7" name="TextBox 6"/>
          <p:cNvSpPr txBox="1"/>
          <p:nvPr userDrawn="1"/>
        </p:nvSpPr>
        <p:spPr bwMode="auto">
          <a:xfrm>
            <a:off x="417512" y="4696575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rgbClr val="124191"/>
                </a:solidFill>
                <a:latin typeface="Nokia Pure Text Light"/>
                <a:cs typeface="Arial" charset="0"/>
              </a:rPr>
              <a:t>Nokia internal use</a:t>
            </a:r>
          </a:p>
        </p:txBody>
      </p:sp>
    </p:spTree>
    <p:extLst>
      <p:ext uri="{BB962C8B-B14F-4D97-AF65-F5344CB8AC3E}">
        <p14:creationId xmlns:p14="http://schemas.microsoft.com/office/powerpoint/2010/main" val="61991526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82670969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8.xml"/><Relationship Id="rId16" Type="http://schemas.openxmlformats.org/officeDocument/2006/relationships/vmlDrawing" Target="../drawings/vmlDrawing2.v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6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096161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19/04/2017</a:t>
            </a:fld>
            <a:endParaRPr lang="en-GB" sz="800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/>
        </p:nvSpPr>
        <p:spPr>
          <a:xfrm>
            <a:off x="1503363" y="4749800"/>
            <a:ext cx="6078537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0" y="4787900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 dirty="0">
                <a:solidFill>
                  <a:schemeClr val="bg2"/>
                </a:solidFill>
                <a:cs typeface="Arial" charset="0"/>
              </a:rPr>
              <a:t>Nokia Internal Use</a:t>
            </a:r>
            <a:endParaRPr lang="en-GB" sz="800" dirty="0">
              <a:solidFill>
                <a:schemeClr val="bg2"/>
              </a:solidFill>
              <a:cs typeface="Arial" charset="0"/>
            </a:endParaRPr>
          </a:p>
        </p:txBody>
      </p:sp>
      <p:sp>
        <p:nvSpPr>
          <p:cNvPr id="30" name="TextBox 29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400">
              <a:defRPr/>
            </a:pPr>
            <a:r>
              <a:rPr lang="en-US" sz="600" dirty="0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ies</a:t>
            </a:r>
            <a:r>
              <a:rPr lang="en-US" sz="600" dirty="0">
                <a:solidFill>
                  <a:srgbClr val="124191"/>
                </a:solidFill>
                <a:latin typeface="Nokia Pure Text Light"/>
                <a:ea typeface="+mn-ea"/>
                <a:cs typeface="Arial" charset="0"/>
              </a:rPr>
              <a:t> where applicable and subject to necessary legal procedures and approvals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5" r:id="rId2"/>
    <p:sldLayoutId id="2147483804" r:id="rId3"/>
  </p:sldLayoutIdLst>
  <p:transition/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80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Arial" pitchFamily="34" charset="0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background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cs typeface="Arial" panose="020B0604020202020204" pitchFamily="34" charset="0"/>
              </a:rPr>
              <a:pPr>
                <a:defRPr/>
              </a:pPr>
              <a:t>19/04/2017</a:t>
            </a:fld>
            <a:endParaRPr lang="en-GB" sz="800" dirty="0"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2800" y="4644000"/>
            <a:ext cx="504825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/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33388" y="4767257"/>
            <a:ext cx="5048250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kia Internal </a:t>
            </a:r>
            <a:r>
              <a:rPr lang="en-GB" sz="8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</a:t>
            </a:r>
            <a:r>
              <a:rPr lang="en-GB" sz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</a:t>
            </a:r>
            <a:endParaRPr lang="en-GB" sz="80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1419225" y="4650515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/>
            <a:r>
              <a:rPr lang="en-US" sz="800" dirty="0">
                <a:solidFill>
                  <a:schemeClr val="bg1"/>
                </a:solidFill>
                <a:latin typeface="Arial"/>
                <a:cs typeface="Arial" charset="0"/>
              </a:rPr>
              <a:t>© Nokia 2017	D541286176 / v.2.1/ Approved  </a:t>
            </a:r>
          </a:p>
        </p:txBody>
      </p:sp>
      <p:sp>
        <p:nvSpPr>
          <p:cNvPr id="30" name="TextBox 29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chemeClr val="bg1"/>
                </a:solidFill>
                <a:latin typeface="Nokia Pure Text Light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chemeClr val="bg1"/>
                </a:solidFill>
                <a:latin typeface="Nokia Pure Text Light"/>
                <a:cs typeface="Arial" charset="0"/>
              </a:rPr>
              <a:t>ies</a:t>
            </a:r>
            <a:r>
              <a:rPr lang="en-US" sz="600" dirty="0">
                <a:solidFill>
                  <a:schemeClr val="bg1"/>
                </a:solidFill>
                <a:latin typeface="Nokia Pure Text Light"/>
                <a:cs typeface="Arial" charset="0"/>
              </a:rPr>
              <a:t> where applicable and subject to necessary legal procedures and approvals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10" r:id="rId3"/>
  </p:sldLayoutIdLst>
  <p:transition/>
  <p:hf sldNum="0"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Arial"/>
          <a:ea typeface="ヒラギノ角ゴ Pro W3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77087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8" name="think-cell Slide" r:id="rId18" imgW="216" imgH="216" progId="">
                  <p:embed/>
                </p:oleObj>
              </mc:Choice>
              <mc:Fallback>
                <p:oleObj name="think-cell Slide" r:id="rId18" imgW="216" imgH="216" progId="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2017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 bwMode="auto">
          <a:xfrm>
            <a:off x="417513" y="5010405"/>
            <a:ext cx="8567737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124191"/>
                </a:solidFill>
                <a:latin typeface="Nokia Pure Text Light"/>
                <a:cs typeface="Arial" charset="0"/>
              </a:rPr>
              <a:t>This document contains preliminary options which are subject to appropriate information and/or consultation of the relevant employee representative body/</a:t>
            </a:r>
            <a:r>
              <a:rPr lang="en-US" sz="600" dirty="0" err="1">
                <a:solidFill>
                  <a:srgbClr val="124191"/>
                </a:solidFill>
                <a:latin typeface="Nokia Pure Text Light"/>
                <a:cs typeface="Arial" charset="0"/>
              </a:rPr>
              <a:t>ies</a:t>
            </a:r>
            <a:r>
              <a:rPr lang="en-US" sz="600" dirty="0">
                <a:solidFill>
                  <a:srgbClr val="124191"/>
                </a:solidFill>
                <a:latin typeface="Nokia Pure Text Light"/>
                <a:cs typeface="Arial" charset="0"/>
              </a:rPr>
              <a:t> where applicable and subject to necessary legal procedures and approvals.</a:t>
            </a:r>
          </a:p>
        </p:txBody>
      </p:sp>
    </p:spTree>
    <p:extLst>
      <p:ext uri="{BB962C8B-B14F-4D97-AF65-F5344CB8AC3E}">
        <p14:creationId xmlns:p14="http://schemas.microsoft.com/office/powerpoint/2010/main" val="614715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7" r:id="rId12"/>
    <p:sldLayoutId id="2147483829" r:id="rId13"/>
    <p:sldLayoutId id="2147483832" r:id="rId14"/>
  </p:sldLayoutIdLst>
  <p:transition/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302" y="2430463"/>
            <a:ext cx="1741074" cy="28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066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</p:sldLayoutIdLst>
  <p:transition/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US" sz="800" noProof="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38" y="4643438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noProof="0" dirty="0">
                <a:solidFill>
                  <a:schemeClr val="bg2"/>
                </a:solidFill>
                <a:latin typeface="+mn-lt"/>
                <a:cs typeface="Arial" charset="0"/>
              </a:rPr>
              <a:t>© Nokia Solutions and Networks 2017</a:t>
            </a:r>
          </a:p>
        </p:txBody>
      </p:sp>
      <p:sp>
        <p:nvSpPr>
          <p:cNvPr id="31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algn="l"/>
            <a:r>
              <a:rPr lang="en-US" noProof="0" dirty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227383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9" r:id="rId5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216000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001135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pic>
        <p:nvPicPr>
          <p:cNvPr id="3" name="Picture 2">
            <a:hlinkClick r:id="" action="ppaction://noaction"/>
          </p:cNvPr>
          <p:cNvPicPr>
            <a:picLocks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8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9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5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6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17" name="Gruppieren 16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19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0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1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2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3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4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25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27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48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49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50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18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  <p:cxnSp>
        <p:nvCxnSpPr>
          <p:cNvPr id="5" name="Gerade Verbindung 4"/>
          <p:cNvCxnSpPr/>
          <p:nvPr userDrawn="1"/>
        </p:nvCxnSpPr>
        <p:spPr>
          <a:xfrm>
            <a:off x="233553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/>
        </p:nvCxnSpPr>
        <p:spPr>
          <a:xfrm>
            <a:off x="4145280" y="5240056"/>
            <a:ext cx="0" cy="318734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53" name="Rechteck 52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233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  <p:sldLayoutId id="2147483858" r:id="rId16"/>
    <p:sldLayoutId id="2147483859" r:id="rId17"/>
    <p:sldLayoutId id="2147483860" r:id="rId18"/>
    <p:sldLayoutId id="2147483861" r:id="rId19"/>
  </p:sldLayoutIdLst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0800"/>
            <a:ext cx="8308800" cy="3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0000"/>
            <a:ext cx="8308800" cy="35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433388" y="4816089"/>
            <a:ext cx="223612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rgbClr val="FFFFFF"/>
                </a:solidFill>
                <a:latin typeface="Nokia Pure Text Light"/>
                <a:cs typeface="Arial" charset="0"/>
              </a:rPr>
              <a:t>© Nokia Solutions and Networks 2015</a:t>
            </a: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FFFFFF"/>
                </a:solidFill>
                <a:cs typeface="Arial" panose="020B0604020202020204" pitchFamily="34" charset="0"/>
              </a:rPr>
              <a:t>Public</a:t>
            </a:r>
          </a:p>
        </p:txBody>
      </p:sp>
      <p:sp>
        <p:nvSpPr>
          <p:cNvPr id="7" name="Rechteck 6">
            <a:hlinkClick r:id="" action="ppaction://hlinkshowjump?jump=previousslide"/>
          </p:cNvPr>
          <p:cNvSpPr/>
          <p:nvPr userDrawn="1"/>
        </p:nvSpPr>
        <p:spPr>
          <a:xfrm>
            <a:off x="0" y="842963"/>
            <a:ext cx="433387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9" name="Rechteck 8">
            <a:hlinkClick r:id="" action="ppaction://hlinkshowjump?jump=nextslide"/>
          </p:cNvPr>
          <p:cNvSpPr/>
          <p:nvPr userDrawn="1"/>
        </p:nvSpPr>
        <p:spPr>
          <a:xfrm>
            <a:off x="8712200" y="842963"/>
            <a:ext cx="431800" cy="3565525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04723">
              <a:lnSpc>
                <a:spcPct val="90000"/>
              </a:lnSpc>
              <a:spcAft>
                <a:spcPts val="600"/>
              </a:spcAft>
              <a:buSzPct val="100000"/>
            </a:pPr>
            <a:endParaRPr lang="en-US" sz="1400" dirty="0">
              <a:solidFill>
                <a:srgbClr val="12419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144512" y="-147638"/>
            <a:ext cx="8856972" cy="5491163"/>
            <a:chOff x="-144512" y="-147638"/>
            <a:chExt cx="8856972" cy="5491163"/>
          </a:xfrm>
        </p:grpSpPr>
        <p:sp>
          <p:nvSpPr>
            <p:cNvPr id="11" name="Line 9"/>
            <p:cNvSpPr>
              <a:spLocks noChangeShapeType="1"/>
            </p:cNvSpPr>
            <p:nvPr/>
          </p:nvSpPr>
          <p:spPr bwMode="auto">
            <a:xfrm flipV="1">
              <a:off x="-144512" y="593725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-144512" y="49149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3" name="Line 9"/>
            <p:cNvSpPr>
              <a:spLocks noChangeShapeType="1"/>
            </p:cNvSpPr>
            <p:nvPr/>
          </p:nvSpPr>
          <p:spPr bwMode="auto">
            <a:xfrm flipV="1">
              <a:off x="-144512" y="84613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auto">
            <a:xfrm flipH="1">
              <a:off x="-144512" y="109220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7" name="Line 12"/>
            <p:cNvSpPr>
              <a:spLocks noChangeShapeType="1"/>
            </p:cNvSpPr>
            <p:nvPr/>
          </p:nvSpPr>
          <p:spPr bwMode="auto">
            <a:xfrm flipV="1">
              <a:off x="-144512" y="4665663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8" name="Line 13"/>
            <p:cNvSpPr>
              <a:spLocks noChangeShapeType="1"/>
            </p:cNvSpPr>
            <p:nvPr/>
          </p:nvSpPr>
          <p:spPr bwMode="auto">
            <a:xfrm flipH="1" flipV="1">
              <a:off x="-144512" y="440055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19" name="Line 14"/>
            <p:cNvSpPr>
              <a:spLocks noChangeShapeType="1"/>
            </p:cNvSpPr>
            <p:nvPr/>
          </p:nvSpPr>
          <p:spPr bwMode="auto">
            <a:xfrm>
              <a:off x="-144512" y="280988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0" name="Line 15"/>
            <p:cNvSpPr>
              <a:spLocks noChangeShapeType="1"/>
            </p:cNvSpPr>
            <p:nvPr/>
          </p:nvSpPr>
          <p:spPr bwMode="auto">
            <a:xfrm flipH="1">
              <a:off x="43180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sp>
          <p:nvSpPr>
            <p:cNvPr id="21" name="Line 17"/>
            <p:cNvSpPr>
              <a:spLocks noChangeShapeType="1"/>
            </p:cNvSpPr>
            <p:nvPr/>
          </p:nvSpPr>
          <p:spPr bwMode="auto">
            <a:xfrm>
              <a:off x="8712460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  <p:grpSp>
          <p:nvGrpSpPr>
            <p:cNvPr id="22" name="Gruppieren 21"/>
            <p:cNvGrpSpPr/>
            <p:nvPr userDrawn="1"/>
          </p:nvGrpSpPr>
          <p:grpSpPr>
            <a:xfrm>
              <a:off x="485237" y="5208588"/>
              <a:ext cx="4940885" cy="134937"/>
              <a:chOff x="485237" y="5208588"/>
              <a:chExt cx="4940885" cy="134937"/>
            </a:xfrm>
          </p:grpSpPr>
          <p:sp>
            <p:nvSpPr>
              <p:cNvPr id="24" name="AutoShape 57"/>
              <p:cNvSpPr>
                <a:spLocks noChangeArrowheads="1"/>
              </p:cNvSpPr>
              <p:nvPr userDrawn="1"/>
            </p:nvSpPr>
            <p:spPr bwMode="auto">
              <a:xfrm>
                <a:off x="1312325" y="5240059"/>
                <a:ext cx="287337" cy="72000"/>
              </a:xfrm>
              <a:prstGeom prst="parallelogram">
                <a:avLst/>
              </a:pr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8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6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45</a:t>
                </a:r>
              </a:p>
            </p:txBody>
          </p:sp>
          <p:sp>
            <p:nvSpPr>
              <p:cNvPr id="25" name="AutoShape 58"/>
              <p:cNvSpPr>
                <a:spLocks noChangeArrowheads="1"/>
              </p:cNvSpPr>
              <p:nvPr userDrawn="1"/>
            </p:nvSpPr>
            <p:spPr bwMode="auto">
              <a:xfrm>
                <a:off x="3069364" y="5240059"/>
                <a:ext cx="287338" cy="72000"/>
              </a:xfrm>
              <a:prstGeom prst="parallelogram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52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6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174</a:t>
                </a:r>
              </a:p>
            </p:txBody>
          </p:sp>
          <p:sp>
            <p:nvSpPr>
              <p:cNvPr id="26" name="AutoShape 59"/>
              <p:cNvSpPr>
                <a:spLocks noChangeArrowheads="1"/>
              </p:cNvSpPr>
              <p:nvPr userDrawn="1"/>
            </p:nvSpPr>
            <p:spPr bwMode="auto">
              <a:xfrm>
                <a:off x="3386422" y="5240059"/>
                <a:ext cx="287337" cy="72000"/>
              </a:xfrm>
              <a:prstGeom prst="parallelogram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7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87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102</a:t>
                </a:r>
              </a:p>
            </p:txBody>
          </p:sp>
          <p:sp>
            <p:nvSpPr>
              <p:cNvPr id="27" name="AutoShape 64"/>
              <p:cNvSpPr>
                <a:spLocks noChangeArrowheads="1"/>
              </p:cNvSpPr>
              <p:nvPr userDrawn="1"/>
            </p:nvSpPr>
            <p:spPr bwMode="auto">
              <a:xfrm>
                <a:off x="5138785" y="5240056"/>
                <a:ext cx="287337" cy="72000"/>
              </a:xfrm>
              <a:prstGeom prst="parallelogram">
                <a:avLst/>
              </a:pr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7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2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1</a:t>
                </a:r>
              </a:p>
            </p:txBody>
          </p:sp>
          <p:sp>
            <p:nvSpPr>
              <p:cNvPr id="28" name="AutoShape 65"/>
              <p:cNvSpPr>
                <a:spLocks noChangeArrowheads="1"/>
              </p:cNvSpPr>
              <p:nvPr userDrawn="1"/>
            </p:nvSpPr>
            <p:spPr bwMode="auto">
              <a:xfrm>
                <a:off x="4520686" y="5240056"/>
                <a:ext cx="287338" cy="72000"/>
              </a:xfrm>
              <a:prstGeom prst="parallelogram">
                <a:avLst/>
              </a:prstGeom>
              <a:solidFill>
                <a:srgbClr val="FF3154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49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84</a:t>
                </a:r>
              </a:p>
            </p:txBody>
          </p:sp>
          <p:sp>
            <p:nvSpPr>
              <p:cNvPr id="29" name="Rectangle 68"/>
              <p:cNvSpPr>
                <a:spLocks noChangeArrowheads="1"/>
              </p:cNvSpPr>
              <p:nvPr userDrawn="1"/>
            </p:nvSpPr>
            <p:spPr bwMode="auto">
              <a:xfrm>
                <a:off x="485237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Core and background colors:</a:t>
                </a:r>
              </a:p>
            </p:txBody>
          </p:sp>
          <p:sp>
            <p:nvSpPr>
              <p:cNvPr id="30" name="Rectangle 68"/>
              <p:cNvSpPr>
                <a:spLocks noChangeArrowheads="1"/>
              </p:cNvSpPr>
              <p:nvPr userDrawn="1"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endParaRPr lang="en-GB" sz="500" dirty="0">
                  <a:solidFill>
                    <a:srgbClr val="001135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AutoShape 64"/>
              <p:cNvSpPr>
                <a:spLocks noChangeArrowheads="1"/>
              </p:cNvSpPr>
              <p:nvPr userDrawn="1"/>
            </p:nvSpPr>
            <p:spPr bwMode="auto">
              <a:xfrm>
                <a:off x="2752307" y="5240056"/>
                <a:ext cx="287337" cy="72000"/>
              </a:xfrm>
              <a:prstGeom prst="parallelogram">
                <a:avLst/>
              </a:pr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19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00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10</a:t>
                </a:r>
              </a:p>
            </p:txBody>
          </p:sp>
          <p:sp>
            <p:nvSpPr>
              <p:cNvPr id="32" name="AutoShape 59"/>
              <p:cNvSpPr>
                <a:spLocks noChangeArrowheads="1"/>
              </p:cNvSpPr>
              <p:nvPr userDrawn="1"/>
            </p:nvSpPr>
            <p:spPr bwMode="auto">
              <a:xfrm>
                <a:off x="4211638" y="5240056"/>
                <a:ext cx="287337" cy="72000"/>
              </a:xfrm>
              <a:prstGeom prst="parallelogram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0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201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3" name="AutoShape 65"/>
              <p:cNvSpPr>
                <a:spLocks noChangeArrowheads="1"/>
              </p:cNvSpPr>
              <p:nvPr userDrawn="1"/>
            </p:nvSpPr>
            <p:spPr bwMode="auto">
              <a:xfrm>
                <a:off x="4829735" y="5240056"/>
                <a:ext cx="287338" cy="72000"/>
              </a:xfrm>
              <a:prstGeom prst="parallelogram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1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0</a:t>
                </a:r>
              </a:p>
            </p:txBody>
          </p:sp>
          <p:sp>
            <p:nvSpPr>
              <p:cNvPr id="34" name="Rectangle 68"/>
              <p:cNvSpPr>
                <a:spLocks noChangeArrowheads="1"/>
              </p:cNvSpPr>
              <p:nvPr/>
            </p:nvSpPr>
            <p:spPr bwMode="auto">
              <a:xfrm>
                <a:off x="647700" y="5208588"/>
                <a:ext cx="792163" cy="13493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none" lIns="18000" tIns="0" rIns="36000" bIns="0" anchor="ctr"/>
              <a:lstStyle/>
              <a:p>
                <a:pPr algn="r"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00C9FF"/>
                  </a:buClr>
                  <a:defRPr/>
                </a:pPr>
                <a:endParaRPr lang="en-GB" sz="500" dirty="0">
                  <a:solidFill>
                    <a:srgbClr val="FFFFFF"/>
                  </a:solidFill>
                  <a:latin typeface="Nokia Pure Headline Ultra Light" panose="020B02040406020603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AutoShape 58"/>
              <p:cNvSpPr>
                <a:spLocks noChangeArrowheads="1"/>
              </p:cNvSpPr>
              <p:nvPr userDrawn="1"/>
            </p:nvSpPr>
            <p:spPr bwMode="auto">
              <a:xfrm>
                <a:off x="1644397" y="5240059"/>
                <a:ext cx="287338" cy="72000"/>
              </a:xfrm>
              <a:prstGeom prst="parallelogram">
                <a:avLst/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0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1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53</a:t>
                </a:r>
              </a:p>
            </p:txBody>
          </p:sp>
          <p:sp>
            <p:nvSpPr>
              <p:cNvPr id="36" name="AutoShape 58"/>
              <p:cNvSpPr>
                <a:spLocks noChangeArrowheads="1"/>
              </p:cNvSpPr>
              <p:nvPr userDrawn="1"/>
            </p:nvSpPr>
            <p:spPr bwMode="auto">
              <a:xfrm>
                <a:off x="1954467" y="5240059"/>
                <a:ext cx="287338" cy="72000"/>
              </a:xfrm>
              <a:prstGeom prst="parallelogram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55 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55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55</a:t>
                </a:r>
              </a:p>
            </p:txBody>
          </p:sp>
          <p:sp>
            <p:nvSpPr>
              <p:cNvPr id="37" name="AutoShape 64"/>
              <p:cNvSpPr>
                <a:spLocks noChangeArrowheads="1"/>
              </p:cNvSpPr>
              <p:nvPr userDrawn="1"/>
            </p:nvSpPr>
            <p:spPr bwMode="auto">
              <a:xfrm>
                <a:off x="2435250" y="5240056"/>
                <a:ext cx="287337" cy="72000"/>
              </a:xfrm>
              <a:prstGeom prst="snip2DiagRect">
                <a:avLst/>
              </a:prstGeom>
              <a:solidFill>
                <a:srgbClr val="EDF2F5"/>
              </a:solidFill>
              <a:ln w="9525">
                <a:noFill/>
                <a:round/>
                <a:headEnd/>
                <a:tailEnd/>
              </a:ln>
            </p:spPr>
            <p:txBody>
              <a:bodyPr lIns="18000" tIns="144000" rIns="18000" bIns="0"/>
              <a:lstStyle/>
              <a:p>
                <a:pPr defTabSz="60325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  <a:defRPr/>
                </a:pP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R 237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G 242</a:t>
                </a:r>
                <a:b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</a:br>
                <a:r>
                  <a:rPr lang="en-GB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cs typeface="Arial" panose="020B0604020202020204" pitchFamily="34" charset="0"/>
                  </a:rPr>
                  <a:t>B 245</a:t>
                </a:r>
              </a:p>
            </p:txBody>
          </p:sp>
          <p:sp>
            <p:nvSpPr>
              <p:cNvPr id="38" name="AutoShape 59"/>
              <p:cNvSpPr>
                <a:spLocks noChangeArrowheads="1"/>
              </p:cNvSpPr>
              <p:nvPr userDrawn="1"/>
            </p:nvSpPr>
            <p:spPr bwMode="auto">
              <a:xfrm>
                <a:off x="3703478" y="5240059"/>
                <a:ext cx="287337" cy="72000"/>
              </a:xfrm>
              <a:prstGeom prst="parallelogram">
                <a:avLst/>
              </a:prstGeom>
              <a:solidFill>
                <a:srgbClr val="273142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lIns="18000" tIns="144000" rIns="18000" bIns="0"/>
              <a:lstStyle/>
              <a:p>
                <a:pPr defTabSz="604647" eaLnBrk="0" fontAlgn="auto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98A2AE"/>
                  </a:buClr>
                </a:pP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R 3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G 49</a:t>
                </a:r>
                <a:b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lang="en-US" sz="500" dirty="0">
                    <a:solidFill>
                      <a:srgbClr val="001135"/>
                    </a:solidFill>
                    <a:latin typeface="Nokia Pure Headline Ultra Light" panose="020B0204040602060303" pitchFamily="34" charset="0"/>
                    <a:ea typeface="+mn-ea"/>
                    <a:cs typeface="Arial" panose="020B0604020202020204" pitchFamily="34" charset="0"/>
                  </a:rPr>
                  <a:t>B 66</a:t>
                </a:r>
              </a:p>
            </p:txBody>
          </p:sp>
        </p:grpSp>
        <p:sp>
          <p:nvSpPr>
            <p:cNvPr id="23" name="Line 10"/>
            <p:cNvSpPr>
              <a:spLocks noChangeShapeType="1"/>
            </p:cNvSpPr>
            <p:nvPr userDrawn="1"/>
          </p:nvSpPr>
          <p:spPr bwMode="auto">
            <a:xfrm flipH="1">
              <a:off x="-144512" y="2751770"/>
              <a:ext cx="108000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ysDot"/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Nokia Pure Headline Ultra Light" panose="020B02040406020603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7925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</p:sldLayoutIdLst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0" kern="1200">
          <a:solidFill>
            <a:schemeClr val="bg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1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1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5.w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 txBox="1">
            <a:spLocks/>
          </p:cNvSpPr>
          <p:nvPr/>
        </p:nvSpPr>
        <p:spPr>
          <a:xfrm>
            <a:off x="922345" y="2197152"/>
            <a:ext cx="181432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sz="2000" dirty="0">
                <a:latin typeface="Nokia Pure Headline Light" panose="020B0304040602060303" pitchFamily="34" charset="0"/>
              </a:rPr>
              <a:t>Nokia Romania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417513" y="287999"/>
            <a:ext cx="8229600" cy="1207697"/>
          </a:xfrm>
        </p:spPr>
        <p:txBody>
          <a:bodyPr/>
          <a:lstStyle/>
          <a:p>
            <a:pPr rtl="0" eaLnBrk="1" fontAlgn="base" hangingPunct="1"/>
            <a:r>
              <a:rPr lang="en-US" sz="3600" dirty="0">
                <a:solidFill>
                  <a:srgbClr val="FFFFFF"/>
                </a:solidFill>
                <a:latin typeface="Nokia Pure Headline Light" panose="020B0304040602060303" pitchFamily="34" charset="0"/>
              </a:rPr>
              <a:t>Cloud Computing and Internet of Things</a:t>
            </a:r>
            <a:br>
              <a:rPr lang="en-US" sz="3600" dirty="0">
                <a:solidFill>
                  <a:srgbClr val="FFFFFF"/>
                </a:solidFill>
                <a:latin typeface="Nokia Pure Headline Light" panose="020B0304040602060303" pitchFamily="34" charset="0"/>
              </a:rPr>
            </a:br>
            <a:br>
              <a:rPr lang="en-US" sz="3600" dirty="0">
                <a:solidFill>
                  <a:srgbClr val="FFFFFF"/>
                </a:solidFill>
                <a:latin typeface="Nokia Pure Headline Light" panose="020B0304040602060303" pitchFamily="34" charset="0"/>
              </a:rPr>
            </a:br>
            <a:r>
              <a:rPr lang="en-US" sz="3600" dirty="0">
                <a:solidFill>
                  <a:srgbClr val="FFFFFF"/>
                </a:solidFill>
                <a:latin typeface="Nokia Pure Headline Light" panose="020B0304040602060303" pitchFamily="34" charset="0"/>
              </a:rPr>
              <a:t>C++ 11</a:t>
            </a:r>
            <a:endParaRPr lang="en-US" dirty="0">
              <a:effectLst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5611" y="1043213"/>
            <a:ext cx="4571502" cy="3228624"/>
          </a:xfrm>
          <a:prstGeom prst="rect">
            <a:avLst/>
          </a:prstGeom>
        </p:spPr>
      </p:pic>
      <p:sp>
        <p:nvSpPr>
          <p:cNvPr id="5" name="Subtitle 2"/>
          <p:cNvSpPr txBox="1">
            <a:spLocks/>
          </p:cNvSpPr>
          <p:nvPr/>
        </p:nvSpPr>
        <p:spPr>
          <a:xfrm>
            <a:off x="417513" y="3964060"/>
            <a:ext cx="278941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895350" eaLnBrk="1" hangingPunct="1">
              <a:buClr>
                <a:schemeClr val="tx2"/>
              </a:buCl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sz="1600" dirty="0">
                <a:latin typeface="Nokia Pure Headline Light" panose="020B0304040602060303" pitchFamily="34" charset="0"/>
              </a:rPr>
              <a:t>Cristian Cosariu / Bogdan Jurcul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767" y="456613"/>
            <a:ext cx="7458311" cy="4366512"/>
          </a:xfrm>
          <a:prstGeom prst="rect">
            <a:avLst/>
          </a:prstGeom>
        </p:spPr>
      </p:pic>
      <p:sp>
        <p:nvSpPr>
          <p:cNvPr id="4" name="Title 5"/>
          <p:cNvSpPr txBox="1">
            <a:spLocks/>
          </p:cNvSpPr>
          <p:nvPr/>
        </p:nvSpPr>
        <p:spPr bwMode="auto">
          <a:xfrm>
            <a:off x="417600" y="280988"/>
            <a:ext cx="2798786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1200" dirty="0">
                <a:solidFill>
                  <a:srgbClr val="124191"/>
                </a:solidFill>
                <a:latin typeface="+mn-lt"/>
                <a:ea typeface="Nokia Pure Text" panose="020B0504040602060303" pitchFamily="34" charset="0"/>
              </a:rPr>
              <a:t>Cloud Computing – LTE Architecture</a:t>
            </a:r>
            <a:endParaRPr lang="en-US" sz="1200" dirty="0">
              <a:latin typeface="+mn-lt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1274070" y="1965330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1596988" y="745222"/>
            <a:ext cx="645835" cy="2557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sz="1000" kern="0" dirty="0">
                <a:solidFill>
                  <a:srgbClr val="124191"/>
                </a:solidFill>
                <a:latin typeface="Nokia Pure Text Light"/>
                <a:ea typeface="宋体" pitchFamily="2" charset="-122"/>
              </a:rPr>
              <a:t>JS/Nod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宋体" pitchFamily="2" charset="-122"/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2216438" y="1379347"/>
            <a:ext cx="645835" cy="2557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sz="1000" kern="0" dirty="0">
                <a:solidFill>
                  <a:srgbClr val="124191"/>
                </a:solidFill>
                <a:latin typeface="Nokia Pure Text Light"/>
                <a:ea typeface="宋体" pitchFamily="2" charset="-122"/>
              </a:rPr>
              <a:t>JS/Nod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宋体" pitchFamily="2" charset="-122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2110282" y="1862398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1143448" y="2396731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139137" y="2763446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3348420" y="1721734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3216386" y="2153135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1171158" y="3298682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1893520" y="3565557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4660120" y="2396731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6356279" y="1465958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6356278" y="1000998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4495673" y="2891334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19" name="Rectangle 18"/>
          <p:cNvSpPr/>
          <p:nvPr/>
        </p:nvSpPr>
        <p:spPr bwMode="gray">
          <a:xfrm>
            <a:off x="3128050" y="3296845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4172755" y="3565557"/>
            <a:ext cx="645835" cy="2557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宋体" pitchFamily="2" charset="-122"/>
              </a:rPr>
              <a:t>C++ 11</a:t>
            </a:r>
          </a:p>
        </p:txBody>
      </p:sp>
    </p:spTree>
    <p:extLst>
      <p:ext uri="{BB962C8B-B14F-4D97-AF65-F5344CB8AC3E}">
        <p14:creationId xmlns:p14="http://schemas.microsoft.com/office/powerpoint/2010/main" val="699633783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7" grpId="0" animBg="1"/>
      <p:bldP spid="7" grpId="1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4" grpId="1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09" y="748146"/>
            <a:ext cx="8876164" cy="3836643"/>
          </a:xfrm>
          <a:prstGeom prst="rect">
            <a:avLst/>
          </a:prstGeom>
        </p:spPr>
      </p:pic>
      <p:sp>
        <p:nvSpPr>
          <p:cNvPr id="4" name="Title 5"/>
          <p:cNvSpPr txBox="1">
            <a:spLocks/>
          </p:cNvSpPr>
          <p:nvPr/>
        </p:nvSpPr>
        <p:spPr bwMode="auto">
          <a:xfrm>
            <a:off x="417600" y="280988"/>
            <a:ext cx="3920132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1200" dirty="0">
                <a:solidFill>
                  <a:srgbClr val="124191"/>
                </a:solidFill>
                <a:latin typeface="+mn-lt"/>
                <a:ea typeface="Nokia Pure Text" panose="020B0504040602060303" pitchFamily="34" charset="0"/>
              </a:rPr>
              <a:t>Nokia Timisoara – Moving SW components to cloud</a:t>
            </a:r>
            <a:endParaRPr lang="en-US" sz="1200" dirty="0">
              <a:latin typeface="+mn-lt"/>
            </a:endParaRPr>
          </a:p>
        </p:txBody>
      </p:sp>
      <p:sp>
        <p:nvSpPr>
          <p:cNvPr id="6" name="Thought Bubble: Cloud 5"/>
          <p:cNvSpPr/>
          <p:nvPr/>
        </p:nvSpPr>
        <p:spPr bwMode="gray">
          <a:xfrm>
            <a:off x="171713" y="847430"/>
            <a:ext cx="8876164" cy="2956084"/>
          </a:xfrm>
          <a:prstGeom prst="cloudCallou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 w="28575" algn="ctr">
            <a:noFill/>
            <a:round/>
            <a:headEnd/>
            <a:tailEnd/>
          </a:ln>
          <a:effectLst/>
        </p:spPr>
        <p:txBody>
          <a:bodyPr wrap="square" lIns="72562" tIns="36281" rIns="72562" bIns="36281" rtlCol="0" anchor="ctr"/>
          <a:lstStyle/>
          <a:p>
            <a:pPr marR="0" algn="ctr" defTabSz="60468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sz="6000" kern="0" dirty="0">
                <a:solidFill>
                  <a:srgbClr val="124191"/>
                </a:solidFill>
                <a:latin typeface="+mj-lt"/>
                <a:ea typeface="宋体" pitchFamily="2" charset="-122"/>
              </a:rPr>
              <a:t>Cloud Computing</a:t>
            </a:r>
            <a:endParaRPr kumimoji="0" lang="en-US" sz="6000" b="0" i="0" u="none" strike="noStrike" kern="0" cap="none" spc="0" normalizeH="0" baseline="0" noProof="0" dirty="0" err="1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+mj-lt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13026064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 txBox="1">
            <a:spLocks/>
          </p:cNvSpPr>
          <p:nvPr/>
        </p:nvSpPr>
        <p:spPr>
          <a:xfrm>
            <a:off x="720974" y="713938"/>
            <a:ext cx="7498123" cy="622592"/>
          </a:xfrm>
          <a:prstGeom prst="rect">
            <a:avLst/>
          </a:prstGeom>
        </p:spPr>
        <p:txBody>
          <a:bodyPr/>
          <a:lstStyle>
            <a:lvl1pPr marL="230188" indent="-230188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 charset="0"/>
              </a:defRPr>
            </a:lvl1pPr>
            <a:lvl2pPr marL="458788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8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2pPr>
            <a:lvl3pPr marL="684213" indent="-225425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3pPr>
            <a:lvl4pPr marL="912813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0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4pPr>
            <a:lvl5pPr marL="1143000" indent="-230188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US" sz="1400" dirty="0"/>
              <a:t>Operations are modelled as objects, operation result is modelled as child object of particular operation object instance.</a:t>
            </a:r>
            <a:br>
              <a:rPr lang="en-US" sz="1400" dirty="0"/>
            </a:br>
            <a:endParaRPr lang="en-US" sz="1400" dirty="0"/>
          </a:p>
        </p:txBody>
      </p:sp>
      <p:sp>
        <p:nvSpPr>
          <p:cNvPr id="3" name="Title 5"/>
          <p:cNvSpPr txBox="1">
            <a:spLocks/>
          </p:cNvSpPr>
          <p:nvPr/>
        </p:nvSpPr>
        <p:spPr bwMode="auto">
          <a:xfrm>
            <a:off x="417600" y="280988"/>
            <a:ext cx="3920132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1200" dirty="0">
                <a:solidFill>
                  <a:srgbClr val="124191"/>
                </a:solidFill>
                <a:latin typeface="+mn-lt"/>
                <a:ea typeface="Nokia Pure Text" panose="020B0504040602060303" pitchFamily="34" charset="0"/>
              </a:rPr>
              <a:t>Nokia Timisoara – Communication</a:t>
            </a:r>
            <a:endParaRPr lang="en-US" sz="1200" dirty="0">
              <a:latin typeface="+mn-lt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51155" y="1529083"/>
            <a:ext cx="8996929" cy="3415074"/>
            <a:chOff x="556684" y="2195290"/>
            <a:chExt cx="10853279" cy="4179467"/>
          </a:xfrm>
        </p:grpSpPr>
        <p:sp>
          <p:nvSpPr>
            <p:cNvPr id="25" name="Rectangle 24"/>
            <p:cNvSpPr/>
            <p:nvPr/>
          </p:nvSpPr>
          <p:spPr>
            <a:xfrm>
              <a:off x="3690257" y="2314945"/>
              <a:ext cx="3763736" cy="35106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Indication Layer </a:t>
              </a: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690257" y="3359822"/>
              <a:ext cx="3763736" cy="35106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Control Layer </a:t>
              </a: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690257" y="4404699"/>
              <a:ext cx="3763736" cy="35106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Management Layer </a:t>
              </a: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690257" y="5449576"/>
              <a:ext cx="3763736" cy="35106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/>
                <a:t>Service Layer </a:t>
              </a: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29" name="Down Arrow 9"/>
            <p:cNvSpPr/>
            <p:nvPr/>
          </p:nvSpPr>
          <p:spPr>
            <a:xfrm>
              <a:off x="4327070" y="2705979"/>
              <a:ext cx="432707" cy="616622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30" name="Down Arrow 10"/>
            <p:cNvSpPr/>
            <p:nvPr/>
          </p:nvSpPr>
          <p:spPr>
            <a:xfrm>
              <a:off x="4327070" y="3745803"/>
              <a:ext cx="432707" cy="616622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31" name="Down Arrow 11"/>
            <p:cNvSpPr/>
            <p:nvPr/>
          </p:nvSpPr>
          <p:spPr>
            <a:xfrm>
              <a:off x="4327070" y="4794358"/>
              <a:ext cx="432707" cy="616622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32" name="Up Arrow 12"/>
            <p:cNvSpPr/>
            <p:nvPr/>
          </p:nvSpPr>
          <p:spPr>
            <a:xfrm>
              <a:off x="6257317" y="4794358"/>
              <a:ext cx="432708" cy="616622"/>
            </a:xfrm>
            <a:prstGeom prst="upArrow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33" name="Up Arrow 13"/>
            <p:cNvSpPr/>
            <p:nvPr/>
          </p:nvSpPr>
          <p:spPr>
            <a:xfrm>
              <a:off x="6257317" y="2708283"/>
              <a:ext cx="432708" cy="616622"/>
            </a:xfrm>
            <a:prstGeom prst="upArrow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34" name="Up Arrow 14"/>
            <p:cNvSpPr/>
            <p:nvPr/>
          </p:nvSpPr>
          <p:spPr>
            <a:xfrm>
              <a:off x="6257317" y="3745803"/>
              <a:ext cx="432708" cy="616622"/>
            </a:xfrm>
            <a:prstGeom prst="upArrow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408006" y="2836452"/>
              <a:ext cx="1910439" cy="376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+mn-lt"/>
                </a:rPr>
                <a:t>EXAMPLE_IND-1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408007" y="3868000"/>
              <a:ext cx="1910439" cy="376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+mn-lt"/>
                </a:rPr>
                <a:t>EXAMPLE_REQ-1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408007" y="4879489"/>
              <a:ext cx="1910439" cy="376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+mn-lt"/>
                </a:rPr>
                <a:t>EXAMPLE_TASK-1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083780" y="2743505"/>
              <a:ext cx="2661260" cy="640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+mn-lt"/>
                </a:rPr>
                <a:t>EXAMPLE_IND-1</a:t>
              </a:r>
            </a:p>
            <a:p>
              <a:r>
                <a:rPr lang="en-US" sz="1400" dirty="0">
                  <a:latin typeface="+mn-lt"/>
                </a:rPr>
                <a:t>		RESULT-1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082963" y="3800714"/>
              <a:ext cx="2661264" cy="640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+mn-lt"/>
                </a:rPr>
                <a:t>EXAMPLE_REQ-1</a:t>
              </a:r>
            </a:p>
            <a:p>
              <a:r>
                <a:rPr lang="en-US" sz="1400" dirty="0">
                  <a:latin typeface="+mn-lt"/>
                </a:rPr>
                <a:t>		RESULT-1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052129" y="4814693"/>
              <a:ext cx="2230131" cy="640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+mn-lt"/>
                </a:rPr>
                <a:t>EXAMPLE_TASK-1</a:t>
              </a:r>
            </a:p>
            <a:p>
              <a:r>
                <a:rPr lang="en-US" sz="1400" dirty="0">
                  <a:latin typeface="+mn-lt"/>
                </a:rPr>
                <a:t>	RESULT-1</a:t>
              </a:r>
            </a:p>
          </p:txBody>
        </p:sp>
        <p:sp>
          <p:nvSpPr>
            <p:cNvPr id="41" name="Curved Left Arrow 22"/>
            <p:cNvSpPr/>
            <p:nvPr/>
          </p:nvSpPr>
          <p:spPr>
            <a:xfrm>
              <a:off x="8854925" y="2323544"/>
              <a:ext cx="1322614" cy="3546106"/>
            </a:xfrm>
            <a:prstGeom prst="curvedLeftArrow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42" name="Curved Down Arrow 24"/>
            <p:cNvSpPr/>
            <p:nvPr/>
          </p:nvSpPr>
          <p:spPr>
            <a:xfrm rot="16200000">
              <a:off x="150089" y="3409910"/>
              <a:ext cx="3665761" cy="1236521"/>
            </a:xfrm>
            <a:prstGeom prst="curvedDownArrow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chemeClr val="accent4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56684" y="5734425"/>
              <a:ext cx="1910439" cy="640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+mn-lt"/>
                </a:rPr>
                <a:t>EXAMPLE_NOTIF-1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9282260" y="2202594"/>
              <a:ext cx="2127703" cy="640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+mn-lt"/>
                </a:rPr>
                <a:t>EXAMPLE_NOTIF-1</a:t>
              </a:r>
            </a:p>
            <a:p>
              <a:r>
                <a:rPr lang="en-US" sz="1400" dirty="0">
                  <a:latin typeface="+mn-lt"/>
                </a:rPr>
                <a:t>	RESULT-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9449748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 txBox="1">
            <a:spLocks/>
          </p:cNvSpPr>
          <p:nvPr/>
        </p:nvSpPr>
        <p:spPr bwMode="auto">
          <a:xfrm>
            <a:off x="417600" y="280988"/>
            <a:ext cx="2798786" cy="236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b="0" kern="1200">
                <a:solidFill>
                  <a:schemeClr val="tx1"/>
                </a:solidFill>
                <a:latin typeface="+mj-lt"/>
                <a:ea typeface="Nokia Pure Headline Ultra Light" panose="020B0204020202020204" pitchFamily="34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  <a:ea typeface="ヒラギノ角ゴ Pro W3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1200" dirty="0">
                <a:solidFill>
                  <a:srgbClr val="124191"/>
                </a:solidFill>
                <a:latin typeface="+mn-lt"/>
                <a:ea typeface="Nokia Pure Text" panose="020B0504040602060303" pitchFamily="34" charset="0"/>
              </a:rPr>
              <a:t>Cloud Computing – LTE Architecture</a:t>
            </a:r>
            <a:endParaRPr lang="en-US" sz="1200" dirty="0">
              <a:latin typeface="+mn-lt"/>
            </a:endParaRPr>
          </a:p>
        </p:txBody>
      </p:sp>
      <p:sp>
        <p:nvSpPr>
          <p:cNvPr id="4" name="Content Placeholder 1"/>
          <p:cNvSpPr txBox="1">
            <a:spLocks/>
          </p:cNvSpPr>
          <p:nvPr/>
        </p:nvSpPr>
        <p:spPr>
          <a:xfrm>
            <a:off x="708185" y="886587"/>
            <a:ext cx="7498123" cy="628887"/>
          </a:xfrm>
          <a:prstGeom prst="rect">
            <a:avLst/>
          </a:prstGeom>
        </p:spPr>
        <p:txBody>
          <a:bodyPr/>
          <a:lstStyle>
            <a:lvl1pPr marL="230188" indent="-230188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 charset="0"/>
              </a:defRPr>
            </a:lvl1pPr>
            <a:lvl2pPr marL="458788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8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2pPr>
            <a:lvl3pPr marL="684213" indent="-225425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3pPr>
            <a:lvl4pPr marL="912813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0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4pPr>
            <a:lvl5pPr marL="1143000" indent="-230188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US" sz="1400" dirty="0"/>
              <a:t>Write a program that implements a class hierarchy that can be used to model geometric shapes using C++ 11 features, based on the following program structure.</a:t>
            </a:r>
            <a:br>
              <a:rPr lang="en-US" sz="1400" dirty="0"/>
            </a:br>
            <a:endParaRPr lang="en-US" sz="1400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55534559"/>
              </p:ext>
            </p:extLst>
          </p:nvPr>
        </p:nvGraphicFramePr>
        <p:xfrm>
          <a:off x="4427538" y="2554288"/>
          <a:ext cx="1309687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5" name="Packager Shell Object" showAsIcon="1" r:id="rId4" imgW="1309320" imgH="685800" progId="Package">
                  <p:embed/>
                </p:oleObj>
              </mc:Choice>
              <mc:Fallback>
                <p:oleObj name="Packager Shell Object" showAsIcon="1" r:id="rId4" imgW="1309320" imgH="6858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427538" y="2554288"/>
                        <a:ext cx="1309687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59986133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Picture 3"/>
          <p:cNvPicPr>
            <a:picLocks noChangeAspect="1"/>
          </p:cNvPicPr>
          <p:nvPr/>
        </p:nvPicPr>
        <p:blipFill>
          <a:blip r:embed="rId2" cstate="screen"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6371" y="2309278"/>
            <a:ext cx="3393014" cy="555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22772887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Nokia PowerPoint Template Arial v25">
  <a:themeElements>
    <a:clrScheme name="Nokia 13.10">
      <a:dk1>
        <a:srgbClr val="124191"/>
      </a:dk1>
      <a:lt1>
        <a:srgbClr val="FFFFFF"/>
      </a:lt1>
      <a:dk2>
        <a:srgbClr val="FFFFFF"/>
      </a:dk2>
      <a:lt2>
        <a:srgbClr val="696C6F"/>
      </a:lt2>
      <a:accent1>
        <a:srgbClr val="A8BBC0"/>
      </a:accent1>
      <a:accent2>
        <a:srgbClr val="124191"/>
      </a:accent2>
      <a:accent3>
        <a:srgbClr val="00C9FF"/>
      </a:accent3>
      <a:accent4>
        <a:srgbClr val="124191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95AB93D0-D871-4594-8FF8-938B8BFFF307}"/>
    </a:ext>
  </a:extLst>
</a:theme>
</file>

<file path=ppt/theme/theme2.xml><?xml version="1.0" encoding="utf-8"?>
<a:theme xmlns:a="http://schemas.openxmlformats.org/drawingml/2006/main" name="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Master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Arial v13" id="{6D46BB1C-DA73-4831-A180-0E637FA5DA40}" vid="{E8382DAA-670D-4CB9-A7BC-A337550CB5AD}"/>
    </a:ext>
  </a:extLst>
</a:theme>
</file>

<file path=ppt/theme/theme3.xml><?xml version="1.0" encoding="utf-8"?>
<a:theme xmlns:a="http://schemas.openxmlformats.org/drawingml/2006/main" name="CORP_PPT_Temp_Pure_V31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D8D9DA"/>
        </a:solidFill>
        <a:ln w="28575" algn="ctr">
          <a:noFill/>
          <a:round/>
          <a:headEnd/>
          <a:tailEnd/>
        </a:ln>
        <a:effectLst/>
      </a:spPr>
      <a:bodyPr wrap="square" lIns="72562" tIns="36281" rIns="72562" bIns="36281"/>
      <a:lstStyle>
        <a:defPPr marL="68027" marR="0" indent="-68027" defTabSz="604684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 typeface="Arial" pitchFamily="34" charset="0"/>
          <a:buChar char="•"/>
          <a:tabLst/>
          <a:defRPr kumimoji="0" sz="1000" b="0" i="0" u="none" strike="noStrike" kern="0" cap="none" spc="0" normalizeH="0" baseline="0" noProof="0" dirty="0" err="1" smtClean="0">
            <a:ln>
              <a:noFill/>
            </a:ln>
            <a:solidFill>
              <a:srgbClr val="124191"/>
            </a:solidFill>
            <a:effectLst/>
            <a:uLnTx/>
            <a:uFillTx/>
            <a:latin typeface="Nokia Pure Text Light"/>
            <a:ea typeface="宋体" pitchFamily="2" charset="-122"/>
          </a:defRPr>
        </a:defPPr>
      </a:lst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marR="0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rgbClr val="001135"/>
          </a:buClr>
          <a:buSzTx/>
          <a:tabLst/>
          <a:defRPr sz="1400" dirty="0" smtClean="0">
            <a:solidFill>
              <a:schemeClr val="tx2"/>
            </a:solidFill>
            <a:latin typeface="+mn-lt"/>
            <a:ea typeface="Nokia Pure Text" panose="020B0503020202020204" pitchFamily="34" charset="0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13EB3C99-2858-4D2F-A434-81579CFF4845}"/>
    </a:ext>
  </a:extLst>
</a:theme>
</file>

<file path=ppt/theme/theme4.xml><?xml version="1.0" encoding="utf-8"?>
<a:theme xmlns:a="http://schemas.openxmlformats.org/drawingml/2006/main" name="Final Slide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okia_Pure_PPT_CORP_V2.potx" id="{E3BA1B50-282F-46D1-93F7-28AC32631B3D}" vid="{02791CA6-8ABD-4CF1-8231-195341A502DA}"/>
    </a:ext>
  </a:extLst>
</a:theme>
</file>

<file path=ppt/theme/theme5.xml><?xml version="1.0" encoding="utf-8"?>
<a:theme xmlns:a="http://schemas.openxmlformats.org/drawingml/2006/main" name="blank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Nokia_Pure_Macro_Free_v51" id="{C604708E-A674-4B2C-AC98-8A2AEAAB84D5}" vid="{D3526DE6-1B3C-44E8-BC12-0D5F87E28AAB}"/>
    </a:ext>
  </a:extLst>
</a:theme>
</file>

<file path=ppt/theme/theme6.xml><?xml version="1.0" encoding="utf-8"?>
<a:theme xmlns:a="http://schemas.openxmlformats.org/drawingml/2006/main" name="3_PPT_Example_Newtheme_v30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0" indent="0">
          <a:spcBef>
            <a:spcPts val="0"/>
          </a:spcBef>
          <a:buNone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8ED24D09-FD32-4636-A74B-E0307A050BA7}"/>
    </a:ext>
  </a:extLst>
</a:theme>
</file>

<file path=ppt/theme/theme7.xml><?xml version="1.0" encoding="utf-8"?>
<a:theme xmlns:a="http://schemas.openxmlformats.org/drawingml/2006/main" name="1_Nokia Master Blue Background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2"/>
          </a:solidFill>
        </a:ln>
      </a:spPr>
      <a:bodyPr/>
      <a:lstStyle/>
      <a:style>
        <a:lnRef idx="1">
          <a:schemeClr val="accent3"/>
        </a:lnRef>
        <a:fillRef idx="0">
          <a:schemeClr val="accent3"/>
        </a:fillRef>
        <a:effectRef idx="0">
          <a:schemeClr val="accent3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9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Example_Newtheme_v30" id="{DA980A40-078E-48DC-8D04-5D225305665E}" vid="{DF2304DB-DF66-4FFA-898B-C620F0E204D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CA51B2843662498A18687AEFE7846F" ma:contentTypeVersion="2" ma:contentTypeDescription="Create a new document." ma:contentTypeScope="" ma:versionID="940c68cb483d2c4e5cc36e99f4a67b8e">
  <xsd:schema xmlns:xsd="http://www.w3.org/2001/XMLSchema" xmlns:xs="http://www.w3.org/2001/XMLSchema" xmlns:p="http://schemas.microsoft.com/office/2006/metadata/properties" xmlns:ns2="2867b335-edfc-4c0d-9af5-910efa08fd08" targetNamespace="http://schemas.microsoft.com/office/2006/metadata/properties" ma:root="true" ma:fieldsID="a9fe06feb6938d162774987d933016cc" ns2:_="">
    <xsd:import namespace="2867b335-edfc-4c0d-9af5-910efa08fd08"/>
    <xsd:element name="properties">
      <xsd:complexType>
        <xsd:sequence>
          <xsd:element name="documentManagement">
            <xsd:complexType>
              <xsd:all>
                <xsd:element ref="ns2:Improvments" minOccurs="0"/>
                <xsd:element ref="ns2:Are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67b335-edfc-4c0d-9af5-910efa08fd08" elementFormDefault="qualified">
    <xsd:import namespace="http://schemas.microsoft.com/office/2006/documentManagement/types"/>
    <xsd:import namespace="http://schemas.microsoft.com/office/infopath/2007/PartnerControls"/>
    <xsd:element name="Improvments" ma:index="8" nillable="true" ma:displayName="Improvments for next release" ma:internalName="Improvments">
      <xsd:simpleType>
        <xsd:restriction base="dms:Note">
          <xsd:maxLength value="255"/>
        </xsd:restriction>
      </xsd:simpleType>
    </xsd:element>
    <xsd:element name="Area" ma:index="9" nillable="true" ma:displayName="Area" ma:internalName="Area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rea xmlns="2867b335-edfc-4c0d-9af5-910efa08fd08" xsi:nil="true"/>
    <Improvments xmlns="2867b335-edfc-4c0d-9af5-910efa08fd08" xsi:nil="true"/>
  </documentManagement>
</p:properties>
</file>

<file path=customXml/itemProps1.xml><?xml version="1.0" encoding="utf-8"?>
<ds:datastoreItem xmlns:ds="http://schemas.openxmlformats.org/officeDocument/2006/customXml" ds:itemID="{539ABE08-4ECD-461D-BB48-199068739F2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B0A7D88-A4BC-4B7D-B6E8-28C40CC42D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867b335-edfc-4c0d-9af5-910efa08fd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1ED75C7-9F73-4DE4-A041-0D8B5ED316A0}">
  <ds:schemaRefs>
    <ds:schemaRef ds:uri="http://schemas.microsoft.com/office/2006/documentManagement/types"/>
    <ds:schemaRef ds:uri="http://www.w3.org/XML/1998/namespace"/>
    <ds:schemaRef ds:uri="2867b335-edfc-4c0d-9af5-910efa08fd08"/>
    <ds:schemaRef ds:uri="http://purl.org/dc/terms/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kia PowerPoint Template Arial v25</Template>
  <TotalTime>0</TotalTime>
  <Words>179</Words>
  <Application>Microsoft Office PowerPoint</Application>
  <PresentationFormat>On-screen Show (16:9)</PresentationFormat>
  <Paragraphs>46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28" baseType="lpstr">
      <vt:lpstr>Arial Unicode MS</vt:lpstr>
      <vt:lpstr>ＭＳ Ｐゴシック</vt:lpstr>
      <vt:lpstr>宋体</vt:lpstr>
      <vt:lpstr>Arial</vt:lpstr>
      <vt:lpstr>Calibri</vt:lpstr>
      <vt:lpstr>Lucida Grande</vt:lpstr>
      <vt:lpstr>Nokia Pure Headline</vt:lpstr>
      <vt:lpstr>Nokia Pure Headline Light</vt:lpstr>
      <vt:lpstr>Nokia Pure Headline Ultra Light</vt:lpstr>
      <vt:lpstr>Nokia Pure Text</vt:lpstr>
      <vt:lpstr>Nokia Pure Text Light</vt:lpstr>
      <vt:lpstr>Wingdings</vt:lpstr>
      <vt:lpstr>ヒラギノ角ゴ Pro W3</vt:lpstr>
      <vt:lpstr>Nokia PowerPoint Template Arial v25</vt:lpstr>
      <vt:lpstr>Nokia Master Blue Background</vt:lpstr>
      <vt:lpstr>CORP_PPT_Temp_Pure_V31</vt:lpstr>
      <vt:lpstr>Final Slide</vt:lpstr>
      <vt:lpstr>blank</vt:lpstr>
      <vt:lpstr>3_PPT_Example_Newtheme_v30</vt:lpstr>
      <vt:lpstr>1_Nokia Master Blue Background</vt:lpstr>
      <vt:lpstr>think-cell Slide</vt:lpstr>
      <vt:lpstr>Packager Shell Object</vt:lpstr>
      <vt:lpstr>Cloud Computing and Internet of Things  C++ 11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5-26T09:55:58Z</dcterms:created>
  <dcterms:modified xsi:type="dcterms:W3CDTF">2017-04-19T10:5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ContentTypeId">
    <vt:lpwstr>0x0101009ECA51B2843662498A18687AEFE7846F</vt:lpwstr>
  </property>
  <property fmtid="{D5CDD505-2E9C-101B-9397-08002B2CF9AE}" pid="4" name="_NewReviewCycle">
    <vt:lpwstr/>
  </property>
</Properties>
</file>